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2.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handoutMasterIdLst>
    <p:handoutMasterId r:id="rId7"/>
  </p:handoutMasterIdLst>
  <p:sldIdLst>
    <p:sldId id="426" r:id="rId5"/>
    <p:sldId id="427" r:id="rId15"/>
    <p:sldId id="428" r:id="rId16"/>
    <p:sldId id="429" r:id="rId17"/>
    <p:sldId id="430" r:id="rId18"/>
    <p:sldId id="431" r:id="rId19"/>
    <p:sldId id="432" r:id="rId20"/>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halt" id="{899E7F68-A5A5-41B3-9ACC-E4E40E3E56FB}">
          <p14:sldIdLst>
            <p14:sldId id="42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000000"/>
    <a:srgbClr val="BFBFBF"/>
    <a:srgbClr val="D9D9D9"/>
    <a:srgbClr val="4D6D8E"/>
    <a:srgbClr val="F2F2F2"/>
    <a:srgbClr val="ED8348"/>
    <a:srgbClr val="85C7CE"/>
    <a:srgbClr val="1C3658"/>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528AA9-69E4-48FF-B393-D6F5B7AFE608}" v="4" dt="2022-06-28T18:02:58.858"/>
    <p1510:client id="{CB36E5FC-E06D-4E72-874F-6D19D91E5E49}" v="1" dt="2022-07-14T10:29:42.26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643" autoAdjust="0"/>
    <p:restoredTop sz="86395" autoAdjust="0"/>
  </p:normalViewPr>
  <p:slideViewPr>
    <p:cSldViewPr snapToGrid="0" showGuides="1">
      <p:cViewPr varScale="1">
        <p:scale>
          <a:sx n="110" d="100"/>
          <a:sy n="110" d="100"/>
        </p:scale>
        <p:origin x="536" y="176"/>
      </p:cViewPr>
      <p:guideLst/>
    </p:cSldViewPr>
  </p:slideViewPr>
  <p:outlineViewPr>
    <p:cViewPr>
      <p:scale>
        <a:sx n="33" d="100"/>
        <a:sy n="33" d="100"/>
      </p:scale>
      <p:origin x="0" y="-2504"/>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84" d="100"/>
          <a:sy n="84" d="100"/>
        </p:scale>
        <p:origin x="5748" y="102"/>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tags" Target="tags/tag1.xml"/><Relationship Id="rId9" Type="http://schemas.openxmlformats.org/officeDocument/2006/relationships/presProps" Target="presProps.xml"/><Relationship Id="rId10" Type="http://schemas.openxmlformats.org/officeDocument/2006/relationships/viewProps" Target="viewProps.xml"/><Relationship Id="rId11" Type="http://schemas.openxmlformats.org/officeDocument/2006/relationships/theme" Target="theme/theme1.xml"/><Relationship Id="rId12" Type="http://schemas.openxmlformats.org/officeDocument/2006/relationships/tableStyles" Target="tableStyles.xml"/><Relationship Id="rId13" Type="http://schemas.microsoft.com/office/2016/11/relationships/changesInfo" Target="changesInfos/changesInfo1.xml"/><Relationship Id="rId14" Type="http://schemas.microsoft.com/office/2015/10/relationships/revisionInfo" Target="revisionInfo.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 Id="rId19" Type="http://schemas.openxmlformats.org/officeDocument/2006/relationships/slide" Target="slides/slide6.xml"/><Relationship Id="rId20"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eldkirchner" userId="c4135e70-53ec-4cd4-a1bd-4ca908459c8c" providerId="ADAL" clId="{7F9C2C8A-03C3-431A-BE04-83FBFEAB7D91}"/>
    <pc:docChg chg="undo custSel addSld delSld modSld sldOrd modSection">
      <pc:chgData name="Marc Feldkirchner" userId="c4135e70-53ec-4cd4-a1bd-4ca908459c8c" providerId="ADAL" clId="{7F9C2C8A-03C3-431A-BE04-83FBFEAB7D91}" dt="2022-03-22T16:40:13.439" v="1932" actId="47"/>
      <pc:docMkLst>
        <pc:docMk/>
      </pc:docMkLst>
      <pc:sldChg chg="modSp mod">
        <pc:chgData name="Marc Feldkirchner" userId="c4135e70-53ec-4cd4-a1bd-4ca908459c8c" providerId="ADAL" clId="{7F9C2C8A-03C3-431A-BE04-83FBFEAB7D91}" dt="2022-02-25T12:08:22.985" v="508" actId="20577"/>
        <pc:sldMkLst>
          <pc:docMk/>
          <pc:sldMk cId="3419691827" sldId="338"/>
        </pc:sldMkLst>
        <pc:spChg chg="mod">
          <ac:chgData name="Marc Feldkirchner" userId="c4135e70-53ec-4cd4-a1bd-4ca908459c8c" providerId="ADAL" clId="{7F9C2C8A-03C3-431A-BE04-83FBFEAB7D91}" dt="2022-02-25T11:46:25.142" v="41" actId="6549"/>
          <ac:spMkLst>
            <pc:docMk/>
            <pc:sldMk cId="3419691827" sldId="338"/>
            <ac:spMk id="6" creationId="{8A12327F-1131-482D-954E-894DEC9EF3F1}"/>
          </ac:spMkLst>
        </pc:spChg>
        <pc:spChg chg="mod">
          <ac:chgData name="Marc Feldkirchner" userId="c4135e70-53ec-4cd4-a1bd-4ca908459c8c" providerId="ADAL" clId="{7F9C2C8A-03C3-431A-BE04-83FBFEAB7D91}" dt="2022-02-25T12:08:22.985" v="508" actId="20577"/>
          <ac:spMkLst>
            <pc:docMk/>
            <pc:sldMk cId="3419691827" sldId="338"/>
            <ac:spMk id="45" creationId="{0B1198CB-D12B-421A-93D0-8C56312E30F4}"/>
          </ac:spMkLst>
        </pc:spChg>
        <pc:spChg chg="mod">
          <ac:chgData name="Marc Feldkirchner" userId="c4135e70-53ec-4cd4-a1bd-4ca908459c8c" providerId="ADAL" clId="{7F9C2C8A-03C3-431A-BE04-83FBFEAB7D91}" dt="2022-02-25T11:57:25.924" v="194" actId="20577"/>
          <ac:spMkLst>
            <pc:docMk/>
            <pc:sldMk cId="3419691827" sldId="338"/>
            <ac:spMk id="179" creationId="{BA596FC9-79E8-4C8F-B716-4B680640466C}"/>
          </ac:spMkLst>
        </pc:spChg>
        <pc:spChg chg="mod">
          <ac:chgData name="Marc Feldkirchner" userId="c4135e70-53ec-4cd4-a1bd-4ca908459c8c" providerId="ADAL" clId="{7F9C2C8A-03C3-431A-BE04-83FBFEAB7D91}" dt="2022-02-25T11:57:44.213" v="215" actId="20577"/>
          <ac:spMkLst>
            <pc:docMk/>
            <pc:sldMk cId="3419691827" sldId="338"/>
            <ac:spMk id="182" creationId="{BA714521-F0A9-44FA-B5A8-FD27D3EFC840}"/>
          </ac:spMkLst>
        </pc:spChg>
        <pc:spChg chg="mod">
          <ac:chgData name="Marc Feldkirchner" userId="c4135e70-53ec-4cd4-a1bd-4ca908459c8c" providerId="ADAL" clId="{7F9C2C8A-03C3-431A-BE04-83FBFEAB7D91}" dt="2022-02-25T11:58:01.575" v="260" actId="20577"/>
          <ac:spMkLst>
            <pc:docMk/>
            <pc:sldMk cId="3419691827" sldId="338"/>
            <ac:spMk id="185" creationId="{1136CD69-C074-465E-B9C4-D5F64CE0B09B}"/>
          </ac:spMkLst>
        </pc:spChg>
        <pc:spChg chg="mod">
          <ac:chgData name="Marc Feldkirchner" userId="c4135e70-53ec-4cd4-a1bd-4ca908459c8c" providerId="ADAL" clId="{7F9C2C8A-03C3-431A-BE04-83FBFEAB7D91}" dt="2022-02-25T11:58:21.806" v="328" actId="20577"/>
          <ac:spMkLst>
            <pc:docMk/>
            <pc:sldMk cId="3419691827" sldId="338"/>
            <ac:spMk id="188" creationId="{0100F361-9136-43CC-9E16-CF4F0116BC89}"/>
          </ac:spMkLst>
        </pc:spChg>
        <pc:spChg chg="mod">
          <ac:chgData name="Marc Feldkirchner" userId="c4135e70-53ec-4cd4-a1bd-4ca908459c8c" providerId="ADAL" clId="{7F9C2C8A-03C3-431A-BE04-83FBFEAB7D91}" dt="2022-02-25T11:57:48.197" v="222" actId="20577"/>
          <ac:spMkLst>
            <pc:docMk/>
            <pc:sldMk cId="3419691827" sldId="338"/>
            <ac:spMk id="191" creationId="{7ECDB696-7E06-4989-9BAE-8071ABC83A16}"/>
          </ac:spMkLst>
        </pc:spChg>
        <pc:spChg chg="mod">
          <ac:chgData name="Marc Feldkirchner" userId="c4135e70-53ec-4cd4-a1bd-4ca908459c8c" providerId="ADAL" clId="{7F9C2C8A-03C3-431A-BE04-83FBFEAB7D91}" dt="2022-02-25T11:58:06.050" v="274" actId="20577"/>
          <ac:spMkLst>
            <pc:docMk/>
            <pc:sldMk cId="3419691827" sldId="338"/>
            <ac:spMk id="194" creationId="{8BA74258-D9BE-4090-AFA9-5A9656D0DD6E}"/>
          </ac:spMkLst>
        </pc:spChg>
        <pc:spChg chg="mod">
          <ac:chgData name="Marc Feldkirchner" userId="c4135e70-53ec-4cd4-a1bd-4ca908459c8c" providerId="ADAL" clId="{7F9C2C8A-03C3-431A-BE04-83FBFEAB7D91}" dt="2022-02-25T11:57:32.723" v="201" actId="20577"/>
          <ac:spMkLst>
            <pc:docMk/>
            <pc:sldMk cId="3419691827" sldId="338"/>
            <ac:spMk id="197" creationId="{85D1901C-874E-4D64-B494-BF73E5D9949F}"/>
          </ac:spMkLst>
        </pc:spChg>
        <pc:spChg chg="mod">
          <ac:chgData name="Marc Feldkirchner" userId="c4135e70-53ec-4cd4-a1bd-4ca908459c8c" providerId="ADAL" clId="{7F9C2C8A-03C3-431A-BE04-83FBFEAB7D91}" dt="2022-02-25T11:57:40.366" v="208" actId="20577"/>
          <ac:spMkLst>
            <pc:docMk/>
            <pc:sldMk cId="3419691827" sldId="338"/>
            <ac:spMk id="200" creationId="{E72D0F0E-AAD2-486F-8138-31245D0542B4}"/>
          </ac:spMkLst>
        </pc:spChg>
        <pc:spChg chg="mod">
          <ac:chgData name="Marc Feldkirchner" userId="c4135e70-53ec-4cd4-a1bd-4ca908459c8c" providerId="ADAL" clId="{7F9C2C8A-03C3-431A-BE04-83FBFEAB7D91}" dt="2022-02-25T11:57:52.447" v="230" actId="5793"/>
          <ac:spMkLst>
            <pc:docMk/>
            <pc:sldMk cId="3419691827" sldId="338"/>
            <ac:spMk id="203" creationId="{759F80D8-6C58-4E1A-B555-224CA4CA6B5B}"/>
          </ac:spMkLst>
        </pc:spChg>
        <pc:spChg chg="mod">
          <ac:chgData name="Marc Feldkirchner" userId="c4135e70-53ec-4cd4-a1bd-4ca908459c8c" providerId="ADAL" clId="{7F9C2C8A-03C3-431A-BE04-83FBFEAB7D91}" dt="2022-02-25T11:57:56.422" v="245" actId="20577"/>
          <ac:spMkLst>
            <pc:docMk/>
            <pc:sldMk cId="3419691827" sldId="338"/>
            <ac:spMk id="206" creationId="{15F811F0-37F3-4874-9FC1-865B6871A749}"/>
          </ac:spMkLst>
        </pc:spChg>
        <pc:spChg chg="mod">
          <ac:chgData name="Marc Feldkirchner" userId="c4135e70-53ec-4cd4-a1bd-4ca908459c8c" providerId="ADAL" clId="{7F9C2C8A-03C3-431A-BE04-83FBFEAB7D91}" dt="2022-02-25T11:58:13.676" v="300" actId="20577"/>
          <ac:spMkLst>
            <pc:docMk/>
            <pc:sldMk cId="3419691827" sldId="338"/>
            <ac:spMk id="209" creationId="{0DF32D69-996A-4E30-8B25-8743FD9921FC}"/>
          </ac:spMkLst>
        </pc:spChg>
        <pc:spChg chg="mod">
          <ac:chgData name="Marc Feldkirchner" userId="c4135e70-53ec-4cd4-a1bd-4ca908459c8c" providerId="ADAL" clId="{7F9C2C8A-03C3-431A-BE04-83FBFEAB7D91}" dt="2022-02-25T11:58:17.748" v="314" actId="20577"/>
          <ac:spMkLst>
            <pc:docMk/>
            <pc:sldMk cId="3419691827" sldId="338"/>
            <ac:spMk id="212" creationId="{FD55FBBA-F3B3-4550-A4BA-838F44C7EDF0}"/>
          </ac:spMkLst>
        </pc:spChg>
      </pc:sldChg>
      <pc:sldChg chg="addSp delSp modSp mod">
        <pc:chgData name="Marc Feldkirchner" userId="c4135e70-53ec-4cd4-a1bd-4ca908459c8c" providerId="ADAL" clId="{7F9C2C8A-03C3-431A-BE04-83FBFEAB7D91}" dt="2022-03-10T22:04:35.172" v="1199" actId="206"/>
        <pc:sldMkLst>
          <pc:docMk/>
          <pc:sldMk cId="3038720959" sldId="339"/>
        </pc:sldMkLst>
        <pc:spChg chg="add mod">
          <ac:chgData name="Marc Feldkirchner" userId="c4135e70-53ec-4cd4-a1bd-4ca908459c8c" providerId="ADAL" clId="{7F9C2C8A-03C3-431A-BE04-83FBFEAB7D91}" dt="2022-03-10T22:04:35.172" v="1199" actId="206"/>
          <ac:spMkLst>
            <pc:docMk/>
            <pc:sldMk cId="3038720959" sldId="339"/>
            <ac:spMk id="6" creationId="{16090C5D-56C4-4908-BC0E-A379FCDEFFFB}"/>
          </ac:spMkLst>
        </pc:spChg>
        <pc:spChg chg="add del mod">
          <ac:chgData name="Marc Feldkirchner" userId="c4135e70-53ec-4cd4-a1bd-4ca908459c8c" providerId="ADAL" clId="{7F9C2C8A-03C3-431A-BE04-83FBFEAB7D91}" dt="2022-02-25T12:22:45.414" v="578" actId="478"/>
          <ac:spMkLst>
            <pc:docMk/>
            <pc:sldMk cId="3038720959" sldId="339"/>
            <ac:spMk id="7" creationId="{50D94D1B-E0AC-4F6F-9645-D20EB614A0E9}"/>
          </ac:spMkLst>
        </pc:spChg>
        <pc:spChg chg="add mod">
          <ac:chgData name="Marc Feldkirchner" userId="c4135e70-53ec-4cd4-a1bd-4ca908459c8c" providerId="ADAL" clId="{7F9C2C8A-03C3-431A-BE04-83FBFEAB7D91}" dt="2022-02-25T12:24:34.750" v="601" actId="20577"/>
          <ac:spMkLst>
            <pc:docMk/>
            <pc:sldMk cId="3038720959" sldId="339"/>
            <ac:spMk id="11" creationId="{6E811F8E-ABDF-4340-BC93-05401E4402FE}"/>
          </ac:spMkLst>
        </pc:spChg>
        <pc:spChg chg="del">
          <ac:chgData name="Marc Feldkirchner" userId="c4135e70-53ec-4cd4-a1bd-4ca908459c8c" providerId="ADAL" clId="{7F9C2C8A-03C3-431A-BE04-83FBFEAB7D91}" dt="2022-02-25T12:22:43.777" v="577" actId="478"/>
          <ac:spMkLst>
            <pc:docMk/>
            <pc:sldMk cId="3038720959" sldId="339"/>
            <ac:spMk id="44" creationId="{F0263D60-897F-4160-9111-2A0237EF0BD9}"/>
          </ac:spMkLst>
        </pc:spChg>
        <pc:cxnChg chg="add mod">
          <ac:chgData name="Marc Feldkirchner" userId="c4135e70-53ec-4cd4-a1bd-4ca908459c8c" providerId="ADAL" clId="{7F9C2C8A-03C3-431A-BE04-83FBFEAB7D91}" dt="2022-02-25T12:23:02.599" v="580" actId="1582"/>
          <ac:cxnSpMkLst>
            <pc:docMk/>
            <pc:sldMk cId="3038720959" sldId="339"/>
            <ac:cxnSpMk id="12" creationId="{2075D55A-D767-4218-82E6-9BDBE296B488}"/>
          </ac:cxnSpMkLst>
        </pc:cxnChg>
      </pc:sldChg>
      <pc:sldChg chg="addSp delSp modSp mod">
        <pc:chgData name="Marc Feldkirchner" userId="c4135e70-53ec-4cd4-a1bd-4ca908459c8c" providerId="ADAL" clId="{7F9C2C8A-03C3-431A-BE04-83FBFEAB7D91}" dt="2022-03-10T22:13:27.892" v="1217" actId="948"/>
        <pc:sldMkLst>
          <pc:docMk/>
          <pc:sldMk cId="254456047" sldId="340"/>
        </pc:sldMkLst>
        <pc:spChg chg="add mod">
          <ac:chgData name="Marc Feldkirchner" userId="c4135e70-53ec-4cd4-a1bd-4ca908459c8c" providerId="ADAL" clId="{7F9C2C8A-03C3-431A-BE04-83FBFEAB7D91}" dt="2022-02-25T12:22:38.597" v="576" actId="478"/>
          <ac:spMkLst>
            <pc:docMk/>
            <pc:sldMk cId="254456047" sldId="340"/>
            <ac:spMk id="5" creationId="{2E9A6766-F00D-4323-BE36-056D34CFB2AA}"/>
          </ac:spMkLst>
        </pc:spChg>
        <pc:spChg chg="mod">
          <ac:chgData name="Marc Feldkirchner" userId="c4135e70-53ec-4cd4-a1bd-4ca908459c8c" providerId="ADAL" clId="{7F9C2C8A-03C3-431A-BE04-83FBFEAB7D91}" dt="2022-03-10T22:13:27.892" v="1217" actId="948"/>
          <ac:spMkLst>
            <pc:docMk/>
            <pc:sldMk cId="254456047" sldId="340"/>
            <ac:spMk id="42" creationId="{E509F2C9-0253-4180-81FE-61E462E5DE0C}"/>
          </ac:spMkLst>
        </pc:spChg>
        <pc:spChg chg="del">
          <ac:chgData name="Marc Feldkirchner" userId="c4135e70-53ec-4cd4-a1bd-4ca908459c8c" providerId="ADAL" clId="{7F9C2C8A-03C3-431A-BE04-83FBFEAB7D91}" dt="2022-02-25T12:22:38.597" v="576" actId="478"/>
          <ac:spMkLst>
            <pc:docMk/>
            <pc:sldMk cId="254456047" sldId="340"/>
            <ac:spMk id="44" creationId="{F0263D60-897F-4160-9111-2A0237EF0BD9}"/>
          </ac:spMkLst>
        </pc:spChg>
      </pc:sldChg>
      <pc:sldChg chg="modSp mod">
        <pc:chgData name="Marc Feldkirchner" userId="c4135e70-53ec-4cd4-a1bd-4ca908459c8c" providerId="ADAL" clId="{7F9C2C8A-03C3-431A-BE04-83FBFEAB7D91}" dt="2022-03-01T06:54:51.770" v="1151" actId="20577"/>
        <pc:sldMkLst>
          <pc:docMk/>
          <pc:sldMk cId="4197691444" sldId="360"/>
        </pc:sldMkLst>
        <pc:spChg chg="mod">
          <ac:chgData name="Marc Feldkirchner" userId="c4135e70-53ec-4cd4-a1bd-4ca908459c8c" providerId="ADAL" clId="{7F9C2C8A-03C3-431A-BE04-83FBFEAB7D91}" dt="2022-03-01T06:54:51.770" v="1151" actId="20577"/>
          <ac:spMkLst>
            <pc:docMk/>
            <pc:sldMk cId="4197691444" sldId="360"/>
            <ac:spMk id="2" creationId="{444F4F07-08F2-411D-8565-363712D9D21E}"/>
          </ac:spMkLst>
        </pc:spChg>
      </pc:sldChg>
      <pc:sldChg chg="modSp mod">
        <pc:chgData name="Marc Feldkirchner" userId="c4135e70-53ec-4cd4-a1bd-4ca908459c8c" providerId="ADAL" clId="{7F9C2C8A-03C3-431A-BE04-83FBFEAB7D91}" dt="2022-03-01T06:54:25.733" v="1117" actId="20577"/>
        <pc:sldMkLst>
          <pc:docMk/>
          <pc:sldMk cId="206669884" sldId="361"/>
        </pc:sldMkLst>
        <pc:spChg chg="mod">
          <ac:chgData name="Marc Feldkirchner" userId="c4135e70-53ec-4cd4-a1bd-4ca908459c8c" providerId="ADAL" clId="{7F9C2C8A-03C3-431A-BE04-83FBFEAB7D91}" dt="2022-03-01T06:54:25.733" v="1117" actId="20577"/>
          <ac:spMkLst>
            <pc:docMk/>
            <pc:sldMk cId="206669884" sldId="361"/>
            <ac:spMk id="14" creationId="{9C58521B-A8E3-41CD-AAF8-C67FFCFC8BA9}"/>
          </ac:spMkLst>
        </pc:spChg>
      </pc:sldChg>
      <pc:sldChg chg="ord">
        <pc:chgData name="Marc Feldkirchner" userId="c4135e70-53ec-4cd4-a1bd-4ca908459c8c" providerId="ADAL" clId="{7F9C2C8A-03C3-431A-BE04-83FBFEAB7D91}" dt="2022-03-10T22:16:12.190" v="1219"/>
        <pc:sldMkLst>
          <pc:docMk/>
          <pc:sldMk cId="33598816" sldId="364"/>
        </pc:sldMkLst>
      </pc:sldChg>
      <pc:sldChg chg="addSp delSp modSp mod modClrScheme chgLayout">
        <pc:chgData name="Marc Feldkirchner" userId="c4135e70-53ec-4cd4-a1bd-4ca908459c8c" providerId="ADAL" clId="{7F9C2C8A-03C3-431A-BE04-83FBFEAB7D91}" dt="2022-02-25T12:39:27.537" v="1079" actId="478"/>
        <pc:sldMkLst>
          <pc:docMk/>
          <pc:sldMk cId="3852887038" sldId="376"/>
        </pc:sldMkLst>
        <pc:spChg chg="mod ord">
          <ac:chgData name="Marc Feldkirchner" userId="c4135e70-53ec-4cd4-a1bd-4ca908459c8c" providerId="ADAL" clId="{7F9C2C8A-03C3-431A-BE04-83FBFEAB7D91}" dt="2022-02-25T12:25:57.055" v="602" actId="700"/>
          <ac:spMkLst>
            <pc:docMk/>
            <pc:sldMk cId="3852887038" sldId="376"/>
            <ac:spMk id="3" creationId="{B601115C-3EA0-4D9B-BEAD-B307461820E5}"/>
          </ac:spMkLst>
        </pc:spChg>
        <pc:spChg chg="add del mod">
          <ac:chgData name="Marc Feldkirchner" userId="c4135e70-53ec-4cd4-a1bd-4ca908459c8c" providerId="ADAL" clId="{7F9C2C8A-03C3-431A-BE04-83FBFEAB7D91}" dt="2022-02-25T12:26:04.143" v="604" actId="478"/>
          <ac:spMkLst>
            <pc:docMk/>
            <pc:sldMk cId="3852887038" sldId="376"/>
            <ac:spMk id="4" creationId="{C7B688FB-DF1B-4EC0-A994-85DCE28FABF4}"/>
          </ac:spMkLst>
        </pc:spChg>
        <pc:spChg chg="add del mod">
          <ac:chgData name="Marc Feldkirchner" userId="c4135e70-53ec-4cd4-a1bd-4ca908459c8c" providerId="ADAL" clId="{7F9C2C8A-03C3-431A-BE04-83FBFEAB7D91}" dt="2022-02-25T12:33:25.708" v="1061" actId="255"/>
          <ac:spMkLst>
            <pc:docMk/>
            <pc:sldMk cId="3852887038" sldId="376"/>
            <ac:spMk id="5" creationId="{3920483C-C283-4670-85AC-CEE9F5666ECA}"/>
          </ac:spMkLst>
        </pc:spChg>
        <pc:spChg chg="mod ord">
          <ac:chgData name="Marc Feldkirchner" userId="c4135e70-53ec-4cd4-a1bd-4ca908459c8c" providerId="ADAL" clId="{7F9C2C8A-03C3-431A-BE04-83FBFEAB7D91}" dt="2022-02-25T12:26:40.680" v="658" actId="20577"/>
          <ac:spMkLst>
            <pc:docMk/>
            <pc:sldMk cId="3852887038" sldId="376"/>
            <ac:spMk id="6" creationId="{36339FD2-8A35-4FC8-9986-7A015E26F5C0}"/>
          </ac:spMkLst>
        </pc:spChg>
        <pc:spChg chg="add del mod">
          <ac:chgData name="Marc Feldkirchner" userId="c4135e70-53ec-4cd4-a1bd-4ca908459c8c" providerId="ADAL" clId="{7F9C2C8A-03C3-431A-BE04-83FBFEAB7D91}" dt="2022-02-25T12:31:38.224" v="897" actId="478"/>
          <ac:spMkLst>
            <pc:docMk/>
            <pc:sldMk cId="3852887038" sldId="376"/>
            <ac:spMk id="7" creationId="{62A3262E-CDA4-4DE1-A30E-4F1836D56761}"/>
          </ac:spMkLst>
        </pc:spChg>
        <pc:spChg chg="add del mod">
          <ac:chgData name="Marc Feldkirchner" userId="c4135e70-53ec-4cd4-a1bd-4ca908459c8c" providerId="ADAL" clId="{7F9C2C8A-03C3-431A-BE04-83FBFEAB7D91}" dt="2022-02-25T12:26:57.514" v="665" actId="478"/>
          <ac:spMkLst>
            <pc:docMk/>
            <pc:sldMk cId="3852887038" sldId="376"/>
            <ac:spMk id="8" creationId="{35240E59-9310-407A-8010-00747563B634}"/>
          </ac:spMkLst>
        </pc:spChg>
        <pc:spChg chg="add del mod">
          <ac:chgData name="Marc Feldkirchner" userId="c4135e70-53ec-4cd4-a1bd-4ca908459c8c" providerId="ADAL" clId="{7F9C2C8A-03C3-431A-BE04-83FBFEAB7D91}" dt="2022-02-25T12:28:39.043" v="791" actId="478"/>
          <ac:spMkLst>
            <pc:docMk/>
            <pc:sldMk cId="3852887038" sldId="376"/>
            <ac:spMk id="9" creationId="{5ABB458E-B1DB-45A3-89D1-32380F56BE37}"/>
          </ac:spMkLst>
        </pc:spChg>
        <pc:spChg chg="add del mod">
          <ac:chgData name="Marc Feldkirchner" userId="c4135e70-53ec-4cd4-a1bd-4ca908459c8c" providerId="ADAL" clId="{7F9C2C8A-03C3-431A-BE04-83FBFEAB7D91}" dt="2022-02-25T12:38:27.144" v="1075" actId="478"/>
          <ac:spMkLst>
            <pc:docMk/>
            <pc:sldMk cId="3852887038" sldId="376"/>
            <ac:spMk id="10" creationId="{999BD86B-44EF-44CB-AF5E-55A5D9F37A2C}"/>
          </ac:spMkLst>
        </pc:spChg>
        <pc:spChg chg="add del mod">
          <ac:chgData name="Marc Feldkirchner" userId="c4135e70-53ec-4cd4-a1bd-4ca908459c8c" providerId="ADAL" clId="{7F9C2C8A-03C3-431A-BE04-83FBFEAB7D91}" dt="2022-02-25T12:30:20.735" v="886" actId="478"/>
          <ac:spMkLst>
            <pc:docMk/>
            <pc:sldMk cId="3852887038" sldId="376"/>
            <ac:spMk id="11" creationId="{62634820-76E7-4098-AAEE-03E9F72B128D}"/>
          </ac:spMkLst>
        </pc:spChg>
        <pc:spChg chg="add del mod">
          <ac:chgData name="Marc Feldkirchner" userId="c4135e70-53ec-4cd4-a1bd-4ca908459c8c" providerId="ADAL" clId="{7F9C2C8A-03C3-431A-BE04-83FBFEAB7D91}" dt="2022-02-25T12:30:43.571" v="888" actId="478"/>
          <ac:spMkLst>
            <pc:docMk/>
            <pc:sldMk cId="3852887038" sldId="376"/>
            <ac:spMk id="12" creationId="{1C4C0107-359B-443C-BE1B-7063882AE7B2}"/>
          </ac:spMkLst>
        </pc:spChg>
        <pc:spChg chg="add del mod">
          <ac:chgData name="Marc Feldkirchner" userId="c4135e70-53ec-4cd4-a1bd-4ca908459c8c" providerId="ADAL" clId="{7F9C2C8A-03C3-431A-BE04-83FBFEAB7D91}" dt="2022-02-25T12:39:27.537" v="1079" actId="478"/>
          <ac:spMkLst>
            <pc:docMk/>
            <pc:sldMk cId="3852887038" sldId="376"/>
            <ac:spMk id="13" creationId="{B9FB477F-996E-44CF-83C2-17799FCD649D}"/>
          </ac:spMkLst>
        </pc:spChg>
        <pc:spChg chg="add del mod">
          <ac:chgData name="Marc Feldkirchner" userId="c4135e70-53ec-4cd4-a1bd-4ca908459c8c" providerId="ADAL" clId="{7F9C2C8A-03C3-431A-BE04-83FBFEAB7D91}" dt="2022-02-25T12:38:26.444" v="1074" actId="478"/>
          <ac:spMkLst>
            <pc:docMk/>
            <pc:sldMk cId="3852887038" sldId="376"/>
            <ac:spMk id="15" creationId="{C9866F9F-2917-4CBF-8740-45B6EC09EA19}"/>
          </ac:spMkLst>
        </pc:spChg>
        <pc:spChg chg="add del mod">
          <ac:chgData name="Marc Feldkirchner" userId="c4135e70-53ec-4cd4-a1bd-4ca908459c8c" providerId="ADAL" clId="{7F9C2C8A-03C3-431A-BE04-83FBFEAB7D91}" dt="2022-02-25T12:38:25.821" v="1073" actId="478"/>
          <ac:spMkLst>
            <pc:docMk/>
            <pc:sldMk cId="3852887038" sldId="376"/>
            <ac:spMk id="16" creationId="{BA5B52E0-5872-4CFB-9A92-9FE46F18F442}"/>
          </ac:spMkLst>
        </pc:spChg>
        <pc:spChg chg="del mod ord">
          <ac:chgData name="Marc Feldkirchner" userId="c4135e70-53ec-4cd4-a1bd-4ca908459c8c" providerId="ADAL" clId="{7F9C2C8A-03C3-431A-BE04-83FBFEAB7D91}" dt="2022-02-25T12:26:01.395" v="603" actId="478"/>
          <ac:spMkLst>
            <pc:docMk/>
            <pc:sldMk cId="3852887038" sldId="376"/>
            <ac:spMk id="42" creationId="{E509F2C9-0253-4180-81FE-61E462E5DE0C}"/>
          </ac:spMkLst>
        </pc:spChg>
        <pc:spChg chg="del mod ord">
          <ac:chgData name="Marc Feldkirchner" userId="c4135e70-53ec-4cd4-a1bd-4ca908459c8c" providerId="ADAL" clId="{7F9C2C8A-03C3-431A-BE04-83FBFEAB7D91}" dt="2022-02-25T12:26:06.348" v="605" actId="478"/>
          <ac:spMkLst>
            <pc:docMk/>
            <pc:sldMk cId="3852887038" sldId="376"/>
            <ac:spMk id="44" creationId="{F0263D60-897F-4160-9111-2A0237EF0BD9}"/>
          </ac:spMkLst>
        </pc:spChg>
      </pc:sldChg>
      <pc:sldChg chg="addSp delSp modSp mod">
        <pc:chgData name="Marc Feldkirchner" userId="c4135e70-53ec-4cd4-a1bd-4ca908459c8c" providerId="ADAL" clId="{7F9C2C8A-03C3-431A-BE04-83FBFEAB7D91}" dt="2022-03-10T22:11:19.741" v="1213" actId="478"/>
        <pc:sldMkLst>
          <pc:docMk/>
          <pc:sldMk cId="941330492" sldId="379"/>
        </pc:sldMkLst>
        <pc:spChg chg="add del mod">
          <ac:chgData name="Marc Feldkirchner" userId="c4135e70-53ec-4cd4-a1bd-4ca908459c8c" providerId="ADAL" clId="{7F9C2C8A-03C3-431A-BE04-83FBFEAB7D91}" dt="2022-03-10T22:11:19.741" v="1213" actId="478"/>
          <ac:spMkLst>
            <pc:docMk/>
            <pc:sldMk cId="941330492" sldId="379"/>
            <ac:spMk id="7" creationId="{E0152457-3D0B-4023-A75E-479D4CB3FCEF}"/>
          </ac:spMkLst>
        </pc:spChg>
        <pc:spChg chg="mod">
          <ac:chgData name="Marc Feldkirchner" userId="c4135e70-53ec-4cd4-a1bd-4ca908459c8c" providerId="ADAL" clId="{7F9C2C8A-03C3-431A-BE04-83FBFEAB7D91}" dt="2022-03-10T22:10:49.204" v="1206" actId="1076"/>
          <ac:spMkLst>
            <pc:docMk/>
            <pc:sldMk cId="941330492" sldId="379"/>
            <ac:spMk id="12" creationId="{23060116-439C-4F92-91A6-51953D835258}"/>
          </ac:spMkLst>
        </pc:spChg>
        <pc:spChg chg="add del mod">
          <ac:chgData name="Marc Feldkirchner" userId="c4135e70-53ec-4cd4-a1bd-4ca908459c8c" providerId="ADAL" clId="{7F9C2C8A-03C3-431A-BE04-83FBFEAB7D91}" dt="2022-03-10T22:11:18.907" v="1212" actId="478"/>
          <ac:spMkLst>
            <pc:docMk/>
            <pc:sldMk cId="941330492" sldId="379"/>
            <ac:spMk id="23" creationId="{B78BA95A-82BD-4F72-A55C-6778227CD8D2}"/>
          </ac:spMkLst>
        </pc:spChg>
      </pc:sldChg>
      <pc:sldChg chg="modSp">
        <pc:chgData name="Marc Feldkirchner" userId="c4135e70-53ec-4cd4-a1bd-4ca908459c8c" providerId="ADAL" clId="{7F9C2C8A-03C3-431A-BE04-83FBFEAB7D91}" dt="2022-02-25T12:23:34.505" v="587" actId="572"/>
        <pc:sldMkLst>
          <pc:docMk/>
          <pc:sldMk cId="216177301" sldId="380"/>
        </pc:sldMkLst>
        <pc:graphicFrameChg chg="mod">
          <ac:chgData name="Marc Feldkirchner" userId="c4135e70-53ec-4cd4-a1bd-4ca908459c8c" providerId="ADAL" clId="{7F9C2C8A-03C3-431A-BE04-83FBFEAB7D91}" dt="2022-02-25T12:23:34.505" v="587" actId="572"/>
          <ac:graphicFrameMkLst>
            <pc:docMk/>
            <pc:sldMk cId="216177301" sldId="380"/>
            <ac:graphicFrameMk id="12" creationId="{90A3AE64-04DB-4D3B-AC2B-2A4E8D7484AB}"/>
          </ac:graphicFrameMkLst>
        </pc:graphicFrameChg>
      </pc:sldChg>
      <pc:sldChg chg="modSp add del mod">
        <pc:chgData name="Marc Feldkirchner" userId="c4135e70-53ec-4cd4-a1bd-4ca908459c8c" providerId="ADAL" clId="{7F9C2C8A-03C3-431A-BE04-83FBFEAB7D91}" dt="2022-02-25T11:58:36.206" v="329" actId="47"/>
        <pc:sldMkLst>
          <pc:docMk/>
          <pc:sldMk cId="1105572835" sldId="381"/>
        </pc:sldMkLst>
        <pc:spChg chg="mod">
          <ac:chgData name="Marc Feldkirchner" userId="c4135e70-53ec-4cd4-a1bd-4ca908459c8c" providerId="ADAL" clId="{7F9C2C8A-03C3-431A-BE04-83FBFEAB7D91}" dt="2022-02-25T11:47:00.732" v="42"/>
          <ac:spMkLst>
            <pc:docMk/>
            <pc:sldMk cId="1105572835" sldId="381"/>
            <ac:spMk id="6" creationId="{8A12327F-1131-482D-954E-894DEC9EF3F1}"/>
          </ac:spMkLst>
        </pc:spChg>
      </pc:sldChg>
      <pc:sldChg chg="add">
        <pc:chgData name="Marc Feldkirchner" userId="c4135e70-53ec-4cd4-a1bd-4ca908459c8c" providerId="ADAL" clId="{7F9C2C8A-03C3-431A-BE04-83FBFEAB7D91}" dt="2022-03-22T16:40:06.620" v="1931"/>
        <pc:sldMkLst>
          <pc:docMk/>
          <pc:sldMk cId="2169851743" sldId="382"/>
        </pc:sldMkLst>
      </pc:sldChg>
      <pc:sldChg chg="add del">
        <pc:chgData name="Marc Feldkirchner" userId="c4135e70-53ec-4cd4-a1bd-4ca908459c8c" providerId="ADAL" clId="{7F9C2C8A-03C3-431A-BE04-83FBFEAB7D91}" dt="2022-02-25T11:58:36.206" v="329" actId="47"/>
        <pc:sldMkLst>
          <pc:docMk/>
          <pc:sldMk cId="3354193982" sldId="382"/>
        </pc:sldMkLst>
      </pc:sldChg>
      <pc:sldChg chg="addSp delSp modSp new del mod">
        <pc:chgData name="Marc Feldkirchner" userId="c4135e70-53ec-4cd4-a1bd-4ca908459c8c" providerId="ADAL" clId="{7F9C2C8A-03C3-431A-BE04-83FBFEAB7D91}" dt="2022-02-25T12:22:31.311" v="575" actId="47"/>
        <pc:sldMkLst>
          <pc:docMk/>
          <pc:sldMk cId="1508556238" sldId="383"/>
        </pc:sldMkLst>
        <pc:spChg chg="del">
          <ac:chgData name="Marc Feldkirchner" userId="c4135e70-53ec-4cd4-a1bd-4ca908459c8c" providerId="ADAL" clId="{7F9C2C8A-03C3-431A-BE04-83FBFEAB7D91}" dt="2022-02-25T11:49:02.390" v="45" actId="478"/>
          <ac:spMkLst>
            <pc:docMk/>
            <pc:sldMk cId="1508556238" sldId="383"/>
            <ac:spMk id="5" creationId="{C233532D-9499-4806-8FEC-8A9A79CAE540}"/>
          </ac:spMkLst>
        </pc:spChg>
        <pc:spChg chg="add del mod">
          <ac:chgData name="Marc Feldkirchner" userId="c4135e70-53ec-4cd4-a1bd-4ca908459c8c" providerId="ADAL" clId="{7F9C2C8A-03C3-431A-BE04-83FBFEAB7D91}" dt="2022-02-25T11:50:07.340" v="55" actId="478"/>
          <ac:spMkLst>
            <pc:docMk/>
            <pc:sldMk cId="1508556238" sldId="383"/>
            <ac:spMk id="6" creationId="{CF98E042-AF62-47F0-B809-E651D6938282}"/>
          </ac:spMkLst>
        </pc:spChg>
        <pc:spChg chg="add del mod">
          <ac:chgData name="Marc Feldkirchner" userId="c4135e70-53ec-4cd4-a1bd-4ca908459c8c" providerId="ADAL" clId="{7F9C2C8A-03C3-431A-BE04-83FBFEAB7D91}" dt="2022-02-25T11:50:07.340" v="55" actId="478"/>
          <ac:spMkLst>
            <pc:docMk/>
            <pc:sldMk cId="1508556238" sldId="383"/>
            <ac:spMk id="7" creationId="{5A78C001-EB71-4D52-9C2A-D0D91B830629}"/>
          </ac:spMkLst>
        </pc:spChg>
        <pc:spChg chg="add del mod ord">
          <ac:chgData name="Marc Feldkirchner" userId="c4135e70-53ec-4cd4-a1bd-4ca908459c8c" providerId="ADAL" clId="{7F9C2C8A-03C3-431A-BE04-83FBFEAB7D91}" dt="2022-02-25T12:22:29.312" v="574" actId="478"/>
          <ac:spMkLst>
            <pc:docMk/>
            <pc:sldMk cId="1508556238" sldId="383"/>
            <ac:spMk id="11" creationId="{D1B7FAD2-5E82-43D1-9176-E1269EA0F0FE}"/>
          </ac:spMkLst>
        </pc:spChg>
        <pc:cxnChg chg="add del mod">
          <ac:chgData name="Marc Feldkirchner" userId="c4135e70-53ec-4cd4-a1bd-4ca908459c8c" providerId="ADAL" clId="{7F9C2C8A-03C3-431A-BE04-83FBFEAB7D91}" dt="2022-02-25T12:22:29.312" v="574" actId="478"/>
          <ac:cxnSpMkLst>
            <pc:docMk/>
            <pc:sldMk cId="1508556238" sldId="383"/>
            <ac:cxnSpMk id="9" creationId="{C0737131-01FF-4A40-907B-D1D74D410947}"/>
          </ac:cxnSpMkLst>
        </pc:cxnChg>
      </pc:sldChg>
      <pc:sldChg chg="modSp add mod">
        <pc:chgData name="Marc Feldkirchner" userId="c4135e70-53ec-4cd4-a1bd-4ca908459c8c" providerId="ADAL" clId="{7F9C2C8A-03C3-431A-BE04-83FBFEAB7D91}" dt="2022-02-25T12:08:18.753" v="503" actId="20577"/>
        <pc:sldMkLst>
          <pc:docMk/>
          <pc:sldMk cId="1045533942" sldId="384"/>
        </pc:sldMkLst>
        <pc:spChg chg="mod">
          <ac:chgData name="Marc Feldkirchner" userId="c4135e70-53ec-4cd4-a1bd-4ca908459c8c" providerId="ADAL" clId="{7F9C2C8A-03C3-431A-BE04-83FBFEAB7D91}" dt="2022-02-25T12:06:52.165" v="414" actId="553"/>
          <ac:spMkLst>
            <pc:docMk/>
            <pc:sldMk cId="1045533942" sldId="384"/>
            <ac:spMk id="33" creationId="{263113CB-4CD9-44E3-ABA2-180A4AC766D6}"/>
          </ac:spMkLst>
        </pc:spChg>
        <pc:spChg chg="mod">
          <ac:chgData name="Marc Feldkirchner" userId="c4135e70-53ec-4cd4-a1bd-4ca908459c8c" providerId="ADAL" clId="{7F9C2C8A-03C3-431A-BE04-83FBFEAB7D91}" dt="2022-02-25T12:06:43.810" v="413" actId="552"/>
          <ac:spMkLst>
            <pc:docMk/>
            <pc:sldMk cId="1045533942" sldId="384"/>
            <ac:spMk id="34" creationId="{D50652B0-02F6-4DC9-B219-540C00F398C8}"/>
          </ac:spMkLst>
        </pc:spChg>
        <pc:spChg chg="mod">
          <ac:chgData name="Marc Feldkirchner" userId="c4135e70-53ec-4cd4-a1bd-4ca908459c8c" providerId="ADAL" clId="{7F9C2C8A-03C3-431A-BE04-83FBFEAB7D91}" dt="2022-02-25T12:06:52.165" v="414" actId="553"/>
          <ac:spMkLst>
            <pc:docMk/>
            <pc:sldMk cId="1045533942" sldId="384"/>
            <ac:spMk id="35" creationId="{BBC7F6AD-6921-4ACF-B45E-17375A3F9F3D}"/>
          </ac:spMkLst>
        </pc:spChg>
        <pc:spChg chg="mod">
          <ac:chgData name="Marc Feldkirchner" userId="c4135e70-53ec-4cd4-a1bd-4ca908459c8c" providerId="ADAL" clId="{7F9C2C8A-03C3-431A-BE04-83FBFEAB7D91}" dt="2022-02-25T12:06:43.810" v="413" actId="552"/>
          <ac:spMkLst>
            <pc:docMk/>
            <pc:sldMk cId="1045533942" sldId="384"/>
            <ac:spMk id="36" creationId="{85521C35-6CE7-4ECC-8F11-10793F43E7FA}"/>
          </ac:spMkLst>
        </pc:spChg>
        <pc:spChg chg="mod">
          <ac:chgData name="Marc Feldkirchner" userId="c4135e70-53ec-4cd4-a1bd-4ca908459c8c" providerId="ADAL" clId="{7F9C2C8A-03C3-431A-BE04-83FBFEAB7D91}" dt="2022-02-25T12:06:52.165" v="414" actId="553"/>
          <ac:spMkLst>
            <pc:docMk/>
            <pc:sldMk cId="1045533942" sldId="384"/>
            <ac:spMk id="39" creationId="{D87F1C78-F62E-42EB-920E-50210B835B8C}"/>
          </ac:spMkLst>
        </pc:spChg>
        <pc:spChg chg="mod">
          <ac:chgData name="Marc Feldkirchner" userId="c4135e70-53ec-4cd4-a1bd-4ca908459c8c" providerId="ADAL" clId="{7F9C2C8A-03C3-431A-BE04-83FBFEAB7D91}" dt="2022-02-25T12:06:52.165" v="414" actId="553"/>
          <ac:spMkLst>
            <pc:docMk/>
            <pc:sldMk cId="1045533942" sldId="384"/>
            <ac:spMk id="40" creationId="{E96176A8-49A1-4A98-B344-E18E879717A3}"/>
          </ac:spMkLst>
        </pc:spChg>
        <pc:spChg chg="mod">
          <ac:chgData name="Marc Feldkirchner" userId="c4135e70-53ec-4cd4-a1bd-4ca908459c8c" providerId="ADAL" clId="{7F9C2C8A-03C3-431A-BE04-83FBFEAB7D91}" dt="2022-02-25T12:06:43.810" v="413" actId="552"/>
          <ac:spMkLst>
            <pc:docMk/>
            <pc:sldMk cId="1045533942" sldId="384"/>
            <ac:spMk id="41" creationId="{D8351968-52D9-4CF5-B1B9-1E5F16DAD8A2}"/>
          </ac:spMkLst>
        </pc:spChg>
        <pc:spChg chg="mod">
          <ac:chgData name="Marc Feldkirchner" userId="c4135e70-53ec-4cd4-a1bd-4ca908459c8c" providerId="ADAL" clId="{7F9C2C8A-03C3-431A-BE04-83FBFEAB7D91}" dt="2022-02-25T12:06:43.810" v="413" actId="552"/>
          <ac:spMkLst>
            <pc:docMk/>
            <pc:sldMk cId="1045533942" sldId="384"/>
            <ac:spMk id="42" creationId="{D9A06F0E-91F5-433D-84E1-E2ADFB411A12}"/>
          </ac:spMkLst>
        </pc:spChg>
        <pc:spChg chg="mod">
          <ac:chgData name="Marc Feldkirchner" userId="c4135e70-53ec-4cd4-a1bd-4ca908459c8c" providerId="ADAL" clId="{7F9C2C8A-03C3-431A-BE04-83FBFEAB7D91}" dt="2022-02-25T12:08:18.753" v="503" actId="20577"/>
          <ac:spMkLst>
            <pc:docMk/>
            <pc:sldMk cId="1045533942" sldId="384"/>
            <ac:spMk id="45" creationId="{0B1198CB-D12B-421A-93D0-8C56312E30F4}"/>
          </ac:spMkLst>
        </pc:spChg>
        <pc:spChg chg="mod">
          <ac:chgData name="Marc Feldkirchner" userId="c4135e70-53ec-4cd4-a1bd-4ca908459c8c" providerId="ADAL" clId="{7F9C2C8A-03C3-431A-BE04-83FBFEAB7D91}" dt="2022-02-25T12:07:08.431" v="438" actId="20577"/>
          <ac:spMkLst>
            <pc:docMk/>
            <pc:sldMk cId="1045533942" sldId="384"/>
            <ac:spMk id="179" creationId="{BA596FC9-79E8-4C8F-B716-4B680640466C}"/>
          </ac:spMkLst>
        </pc:spChg>
        <pc:spChg chg="mod">
          <ac:chgData name="Marc Feldkirchner" userId="c4135e70-53ec-4cd4-a1bd-4ca908459c8c" providerId="ADAL" clId="{7F9C2C8A-03C3-431A-BE04-83FBFEAB7D91}" dt="2022-02-25T12:07:01.485" v="426" actId="20577"/>
          <ac:spMkLst>
            <pc:docMk/>
            <pc:sldMk cId="1045533942" sldId="384"/>
            <ac:spMk id="182" creationId="{BA714521-F0A9-44FA-B5A8-FD27D3EFC840}"/>
          </ac:spMkLst>
        </pc:spChg>
        <pc:spChg chg="mod">
          <ac:chgData name="Marc Feldkirchner" userId="c4135e70-53ec-4cd4-a1bd-4ca908459c8c" providerId="ADAL" clId="{7F9C2C8A-03C3-431A-BE04-83FBFEAB7D91}" dt="2022-02-25T12:04:53.122" v="398" actId="1076"/>
          <ac:spMkLst>
            <pc:docMk/>
            <pc:sldMk cId="1045533942" sldId="384"/>
            <ac:spMk id="184" creationId="{F57A899F-DDD4-49AB-B9FC-0358D18E82DF}"/>
          </ac:spMkLst>
        </pc:spChg>
        <pc:spChg chg="mod">
          <ac:chgData name="Marc Feldkirchner" userId="c4135e70-53ec-4cd4-a1bd-4ca908459c8c" providerId="ADAL" clId="{7F9C2C8A-03C3-431A-BE04-83FBFEAB7D91}" dt="2022-02-25T12:07:22.473" v="463" actId="20577"/>
          <ac:spMkLst>
            <pc:docMk/>
            <pc:sldMk cId="1045533942" sldId="384"/>
            <ac:spMk id="185" creationId="{1136CD69-C074-465E-B9C4-D5F64CE0B09B}"/>
          </ac:spMkLst>
        </pc:spChg>
        <pc:spChg chg="mod">
          <ac:chgData name="Marc Feldkirchner" userId="c4135e70-53ec-4cd4-a1bd-4ca908459c8c" providerId="ADAL" clId="{7F9C2C8A-03C3-431A-BE04-83FBFEAB7D91}" dt="2022-02-25T12:05:18.088" v="403" actId="1076"/>
          <ac:spMkLst>
            <pc:docMk/>
            <pc:sldMk cId="1045533942" sldId="384"/>
            <ac:spMk id="187" creationId="{9D006762-F0F3-4076-BE97-6124B4FABEA5}"/>
          </ac:spMkLst>
        </pc:spChg>
        <pc:spChg chg="mod">
          <ac:chgData name="Marc Feldkirchner" userId="c4135e70-53ec-4cd4-a1bd-4ca908459c8c" providerId="ADAL" clId="{7F9C2C8A-03C3-431A-BE04-83FBFEAB7D91}" dt="2022-02-25T12:07:33.801" v="487" actId="20577"/>
          <ac:spMkLst>
            <pc:docMk/>
            <pc:sldMk cId="1045533942" sldId="384"/>
            <ac:spMk id="188" creationId="{0100F361-9136-43CC-9E16-CF4F0116BC89}"/>
          </ac:spMkLst>
        </pc:spChg>
        <pc:spChg chg="mod">
          <ac:chgData name="Marc Feldkirchner" userId="c4135e70-53ec-4cd4-a1bd-4ca908459c8c" providerId="ADAL" clId="{7F9C2C8A-03C3-431A-BE04-83FBFEAB7D91}" dt="2022-02-25T12:06:04.842" v="407" actId="1076"/>
          <ac:spMkLst>
            <pc:docMk/>
            <pc:sldMk cId="1045533942" sldId="384"/>
            <ac:spMk id="190" creationId="{6F267383-00ED-4749-BF8E-39A206F44ECD}"/>
          </ac:spMkLst>
        </pc:spChg>
        <pc:spChg chg="mod">
          <ac:chgData name="Marc Feldkirchner" userId="c4135e70-53ec-4cd4-a1bd-4ca908459c8c" providerId="ADAL" clId="{7F9C2C8A-03C3-431A-BE04-83FBFEAB7D91}" dt="2022-02-25T12:07:14.298" v="445" actId="20577"/>
          <ac:spMkLst>
            <pc:docMk/>
            <pc:sldMk cId="1045533942" sldId="384"/>
            <ac:spMk id="191" creationId="{7ECDB696-7E06-4989-9BAE-8071ABC83A16}"/>
          </ac:spMkLst>
        </pc:spChg>
        <pc:spChg chg="mod">
          <ac:chgData name="Marc Feldkirchner" userId="c4135e70-53ec-4cd4-a1bd-4ca908459c8c" providerId="ADAL" clId="{7F9C2C8A-03C3-431A-BE04-83FBFEAB7D91}" dt="2022-02-25T12:06:32.636" v="412" actId="1076"/>
          <ac:spMkLst>
            <pc:docMk/>
            <pc:sldMk cId="1045533942" sldId="384"/>
            <ac:spMk id="193" creationId="{4407F2A3-C74A-414D-8577-CB1F9BFBFCF1}"/>
          </ac:spMkLst>
        </pc:spChg>
        <pc:spChg chg="mod">
          <ac:chgData name="Marc Feldkirchner" userId="c4135e70-53ec-4cd4-a1bd-4ca908459c8c" providerId="ADAL" clId="{7F9C2C8A-03C3-431A-BE04-83FBFEAB7D91}" dt="2022-02-25T12:07:25.663" v="469" actId="20577"/>
          <ac:spMkLst>
            <pc:docMk/>
            <pc:sldMk cId="1045533942" sldId="384"/>
            <ac:spMk id="194" creationId="{8BA74258-D9BE-4090-AFA9-5A9656D0DD6E}"/>
          </ac:spMkLst>
        </pc:spChg>
        <pc:spChg chg="mod">
          <ac:chgData name="Marc Feldkirchner" userId="c4135e70-53ec-4cd4-a1bd-4ca908459c8c" providerId="ADAL" clId="{7F9C2C8A-03C3-431A-BE04-83FBFEAB7D91}" dt="2022-02-25T12:07:05.994" v="432" actId="20577"/>
          <ac:spMkLst>
            <pc:docMk/>
            <pc:sldMk cId="1045533942" sldId="384"/>
            <ac:spMk id="197" creationId="{85D1901C-874E-4D64-B494-BF73E5D9949F}"/>
          </ac:spMkLst>
        </pc:spChg>
        <pc:spChg chg="mod">
          <ac:chgData name="Marc Feldkirchner" userId="c4135e70-53ec-4cd4-a1bd-4ca908459c8c" providerId="ADAL" clId="{7F9C2C8A-03C3-431A-BE04-83FBFEAB7D91}" dt="2022-02-25T12:07:11.306" v="439" actId="313"/>
          <ac:spMkLst>
            <pc:docMk/>
            <pc:sldMk cId="1045533942" sldId="384"/>
            <ac:spMk id="200" creationId="{E72D0F0E-AAD2-486F-8138-31245D0542B4}"/>
          </ac:spMkLst>
        </pc:spChg>
        <pc:spChg chg="mod">
          <ac:chgData name="Marc Feldkirchner" userId="c4135e70-53ec-4cd4-a1bd-4ca908459c8c" providerId="ADAL" clId="{7F9C2C8A-03C3-431A-BE04-83FBFEAB7D91}" dt="2022-02-25T12:06:09.423" v="408" actId="1076"/>
          <ac:spMkLst>
            <pc:docMk/>
            <pc:sldMk cId="1045533942" sldId="384"/>
            <ac:spMk id="202" creationId="{F69CD99C-670E-4658-B02C-1E7E62DDFD77}"/>
          </ac:spMkLst>
        </pc:spChg>
        <pc:spChg chg="mod">
          <ac:chgData name="Marc Feldkirchner" userId="c4135e70-53ec-4cd4-a1bd-4ca908459c8c" providerId="ADAL" clId="{7F9C2C8A-03C3-431A-BE04-83FBFEAB7D91}" dt="2022-02-25T12:07:17.424" v="451" actId="20577"/>
          <ac:spMkLst>
            <pc:docMk/>
            <pc:sldMk cId="1045533942" sldId="384"/>
            <ac:spMk id="203" creationId="{759F80D8-6C58-4E1A-B555-224CA4CA6B5B}"/>
          </ac:spMkLst>
        </pc:spChg>
        <pc:spChg chg="mod">
          <ac:chgData name="Marc Feldkirchner" userId="c4135e70-53ec-4cd4-a1bd-4ca908459c8c" providerId="ADAL" clId="{7F9C2C8A-03C3-431A-BE04-83FBFEAB7D91}" dt="2022-02-25T12:06:12.495" v="409" actId="1076"/>
          <ac:spMkLst>
            <pc:docMk/>
            <pc:sldMk cId="1045533942" sldId="384"/>
            <ac:spMk id="205" creationId="{AAD21B5D-A139-4009-AB75-BA9E4F6C4C10}"/>
          </ac:spMkLst>
        </pc:spChg>
        <pc:spChg chg="mod">
          <ac:chgData name="Marc Feldkirchner" userId="c4135e70-53ec-4cd4-a1bd-4ca908459c8c" providerId="ADAL" clId="{7F9C2C8A-03C3-431A-BE04-83FBFEAB7D91}" dt="2022-02-25T12:07:20.166" v="457" actId="20577"/>
          <ac:spMkLst>
            <pc:docMk/>
            <pc:sldMk cId="1045533942" sldId="384"/>
            <ac:spMk id="206" creationId="{15F811F0-37F3-4874-9FC1-865B6871A749}"/>
          </ac:spMkLst>
        </pc:spChg>
        <pc:spChg chg="mod">
          <ac:chgData name="Marc Feldkirchner" userId="c4135e70-53ec-4cd4-a1bd-4ca908459c8c" providerId="ADAL" clId="{7F9C2C8A-03C3-431A-BE04-83FBFEAB7D91}" dt="2022-02-25T12:06:28.166" v="411" actId="1076"/>
          <ac:spMkLst>
            <pc:docMk/>
            <pc:sldMk cId="1045533942" sldId="384"/>
            <ac:spMk id="208" creationId="{5FC69E20-5CF8-414D-9D04-0FC1C0A0438F}"/>
          </ac:spMkLst>
        </pc:spChg>
        <pc:spChg chg="mod">
          <ac:chgData name="Marc Feldkirchner" userId="c4135e70-53ec-4cd4-a1bd-4ca908459c8c" providerId="ADAL" clId="{7F9C2C8A-03C3-431A-BE04-83FBFEAB7D91}" dt="2022-02-25T12:07:28.347" v="475" actId="20577"/>
          <ac:spMkLst>
            <pc:docMk/>
            <pc:sldMk cId="1045533942" sldId="384"/>
            <ac:spMk id="209" creationId="{0DF32D69-996A-4E30-8B25-8743FD9921FC}"/>
          </ac:spMkLst>
        </pc:spChg>
        <pc:spChg chg="mod">
          <ac:chgData name="Marc Feldkirchner" userId="c4135e70-53ec-4cd4-a1bd-4ca908459c8c" providerId="ADAL" clId="{7F9C2C8A-03C3-431A-BE04-83FBFEAB7D91}" dt="2022-02-25T12:06:23.201" v="410" actId="1076"/>
          <ac:spMkLst>
            <pc:docMk/>
            <pc:sldMk cId="1045533942" sldId="384"/>
            <ac:spMk id="211" creationId="{D7D67B0B-1B2A-47EF-B324-2111E1A3897F}"/>
          </ac:spMkLst>
        </pc:spChg>
        <pc:spChg chg="mod">
          <ac:chgData name="Marc Feldkirchner" userId="c4135e70-53ec-4cd4-a1bd-4ca908459c8c" providerId="ADAL" clId="{7F9C2C8A-03C3-431A-BE04-83FBFEAB7D91}" dt="2022-02-25T12:07:30.713" v="481" actId="20577"/>
          <ac:spMkLst>
            <pc:docMk/>
            <pc:sldMk cId="1045533942" sldId="384"/>
            <ac:spMk id="212" creationId="{FD55FBBA-F3B3-4550-A4BA-838F44C7EDF0}"/>
          </ac:spMkLst>
        </pc:spChg>
      </pc:sldChg>
      <pc:sldChg chg="modSp add del mod">
        <pc:chgData name="Marc Feldkirchner" userId="c4135e70-53ec-4cd4-a1bd-4ca908459c8c" providerId="ADAL" clId="{7F9C2C8A-03C3-431A-BE04-83FBFEAB7D91}" dt="2022-02-25T11:59:52.487" v="370" actId="47"/>
        <pc:sldMkLst>
          <pc:docMk/>
          <pc:sldMk cId="3556759864" sldId="384"/>
        </pc:sldMkLst>
        <pc:spChg chg="mod">
          <ac:chgData name="Marc Feldkirchner" userId="c4135e70-53ec-4cd4-a1bd-4ca908459c8c" providerId="ADAL" clId="{7F9C2C8A-03C3-431A-BE04-83FBFEAB7D91}" dt="2022-02-25T11:58:51.727" v="333" actId="20577"/>
          <ac:spMkLst>
            <pc:docMk/>
            <pc:sldMk cId="3556759864" sldId="384"/>
            <ac:spMk id="45" creationId="{0B1198CB-D12B-421A-93D0-8C56312E30F4}"/>
          </ac:spMkLst>
        </pc:spChg>
      </pc:sldChg>
      <pc:sldChg chg="addSp delSp modSp add mod">
        <pc:chgData name="Marc Feldkirchner" userId="c4135e70-53ec-4cd4-a1bd-4ca908459c8c" providerId="ADAL" clId="{7F9C2C8A-03C3-431A-BE04-83FBFEAB7D91}" dt="2022-02-25T12:21:19.294" v="573" actId="5793"/>
        <pc:sldMkLst>
          <pc:docMk/>
          <pc:sldMk cId="1769863677" sldId="385"/>
        </pc:sldMkLst>
        <pc:spChg chg="add del mod">
          <ac:chgData name="Marc Feldkirchner" userId="c4135e70-53ec-4cd4-a1bd-4ca908459c8c" providerId="ADAL" clId="{7F9C2C8A-03C3-431A-BE04-83FBFEAB7D91}" dt="2022-02-25T12:08:05.923" v="491" actId="478"/>
          <ac:spMkLst>
            <pc:docMk/>
            <pc:sldMk cId="1769863677" sldId="385"/>
            <ac:spMk id="3" creationId="{CB3E5B52-A57D-48BD-9C77-1A90F20D1F33}"/>
          </ac:spMkLst>
        </pc:spChg>
        <pc:spChg chg="add del mod">
          <ac:chgData name="Marc Feldkirchner" userId="c4135e70-53ec-4cd4-a1bd-4ca908459c8c" providerId="ADAL" clId="{7F9C2C8A-03C3-431A-BE04-83FBFEAB7D91}" dt="2022-02-25T12:08:05.923" v="491" actId="478"/>
          <ac:spMkLst>
            <pc:docMk/>
            <pc:sldMk cId="1769863677" sldId="385"/>
            <ac:spMk id="5" creationId="{BFF9F476-61A3-402D-80F2-AD8177614424}"/>
          </ac:spMkLst>
        </pc:spChg>
        <pc:spChg chg="add del mod">
          <ac:chgData name="Marc Feldkirchner" userId="c4135e70-53ec-4cd4-a1bd-4ca908459c8c" providerId="ADAL" clId="{7F9C2C8A-03C3-431A-BE04-83FBFEAB7D91}" dt="2022-02-25T12:08:05.923" v="491" actId="478"/>
          <ac:spMkLst>
            <pc:docMk/>
            <pc:sldMk cId="1769863677" sldId="385"/>
            <ac:spMk id="8" creationId="{C2CDE81C-C19E-4FA9-BC5D-9F56EC9C9DAD}"/>
          </ac:spMkLst>
        </pc:spChg>
        <pc:spChg chg="add del mod">
          <ac:chgData name="Marc Feldkirchner" userId="c4135e70-53ec-4cd4-a1bd-4ca908459c8c" providerId="ADAL" clId="{7F9C2C8A-03C3-431A-BE04-83FBFEAB7D91}" dt="2022-02-25T12:08:05.923" v="491" actId="478"/>
          <ac:spMkLst>
            <pc:docMk/>
            <pc:sldMk cId="1769863677" sldId="385"/>
            <ac:spMk id="10" creationId="{2523632E-3B52-4FE7-8059-D5A9CE4531A8}"/>
          </ac:spMkLst>
        </pc:spChg>
        <pc:spChg chg="add del mod">
          <ac:chgData name="Marc Feldkirchner" userId="c4135e70-53ec-4cd4-a1bd-4ca908459c8c" providerId="ADAL" clId="{7F9C2C8A-03C3-431A-BE04-83FBFEAB7D91}" dt="2022-02-25T12:08:05.923" v="491" actId="478"/>
          <ac:spMkLst>
            <pc:docMk/>
            <pc:sldMk cId="1769863677" sldId="385"/>
            <ac:spMk id="12" creationId="{378836B2-350A-4B64-A824-CFBB669BF9D3}"/>
          </ac:spMkLst>
        </pc:spChg>
        <pc:spChg chg="add del mod">
          <ac:chgData name="Marc Feldkirchner" userId="c4135e70-53ec-4cd4-a1bd-4ca908459c8c" providerId="ADAL" clId="{7F9C2C8A-03C3-431A-BE04-83FBFEAB7D91}" dt="2022-02-25T12:08:05.923" v="491" actId="478"/>
          <ac:spMkLst>
            <pc:docMk/>
            <pc:sldMk cId="1769863677" sldId="385"/>
            <ac:spMk id="14" creationId="{5F6019A0-A30E-44A6-A083-49ABDFA1DCA9}"/>
          </ac:spMkLst>
        </pc:spChg>
        <pc:spChg chg="add del mod">
          <ac:chgData name="Marc Feldkirchner" userId="c4135e70-53ec-4cd4-a1bd-4ca908459c8c" providerId="ADAL" clId="{7F9C2C8A-03C3-431A-BE04-83FBFEAB7D91}" dt="2022-02-25T12:08:05.923" v="491" actId="478"/>
          <ac:spMkLst>
            <pc:docMk/>
            <pc:sldMk cId="1769863677" sldId="385"/>
            <ac:spMk id="16" creationId="{78EB17EC-28BB-45C3-9637-02019DEFB2D3}"/>
          </ac:spMkLst>
        </pc:spChg>
        <pc:spChg chg="add del mod">
          <ac:chgData name="Marc Feldkirchner" userId="c4135e70-53ec-4cd4-a1bd-4ca908459c8c" providerId="ADAL" clId="{7F9C2C8A-03C3-431A-BE04-83FBFEAB7D91}" dt="2022-02-25T12:08:05.923" v="491" actId="478"/>
          <ac:spMkLst>
            <pc:docMk/>
            <pc:sldMk cId="1769863677" sldId="385"/>
            <ac:spMk id="18" creationId="{7BF2D4BE-C038-4596-92A2-16B80B6C6015}"/>
          </ac:spMkLst>
        </pc:spChg>
        <pc:spChg chg="mod">
          <ac:chgData name="Marc Feldkirchner" userId="c4135e70-53ec-4cd4-a1bd-4ca908459c8c" providerId="ADAL" clId="{7F9C2C8A-03C3-431A-BE04-83FBFEAB7D91}" dt="2022-02-25T12:20:56.006" v="525" actId="553"/>
          <ac:spMkLst>
            <pc:docMk/>
            <pc:sldMk cId="1769863677" sldId="385"/>
            <ac:spMk id="33" creationId="{263113CB-4CD9-44E3-ABA2-180A4AC766D6}"/>
          </ac:spMkLst>
        </pc:spChg>
        <pc:spChg chg="del">
          <ac:chgData name="Marc Feldkirchner" userId="c4135e70-53ec-4cd4-a1bd-4ca908459c8c" providerId="ADAL" clId="{7F9C2C8A-03C3-431A-BE04-83FBFEAB7D91}" dt="2022-02-25T12:08:03.283" v="490" actId="478"/>
          <ac:spMkLst>
            <pc:docMk/>
            <pc:sldMk cId="1769863677" sldId="385"/>
            <ac:spMk id="34" creationId="{D50652B0-02F6-4DC9-B219-540C00F398C8}"/>
          </ac:spMkLst>
        </pc:spChg>
        <pc:spChg chg="mod">
          <ac:chgData name="Marc Feldkirchner" userId="c4135e70-53ec-4cd4-a1bd-4ca908459c8c" providerId="ADAL" clId="{7F9C2C8A-03C3-431A-BE04-83FBFEAB7D91}" dt="2022-02-25T12:20:56.006" v="525" actId="553"/>
          <ac:spMkLst>
            <pc:docMk/>
            <pc:sldMk cId="1769863677" sldId="385"/>
            <ac:spMk id="35" creationId="{BBC7F6AD-6921-4ACF-B45E-17375A3F9F3D}"/>
          </ac:spMkLst>
        </pc:spChg>
        <pc:spChg chg="del">
          <ac:chgData name="Marc Feldkirchner" userId="c4135e70-53ec-4cd4-a1bd-4ca908459c8c" providerId="ADAL" clId="{7F9C2C8A-03C3-431A-BE04-83FBFEAB7D91}" dt="2022-02-25T12:08:03.283" v="490" actId="478"/>
          <ac:spMkLst>
            <pc:docMk/>
            <pc:sldMk cId="1769863677" sldId="385"/>
            <ac:spMk id="36" creationId="{85521C35-6CE7-4ECC-8F11-10793F43E7FA}"/>
          </ac:spMkLst>
        </pc:spChg>
        <pc:spChg chg="mod">
          <ac:chgData name="Marc Feldkirchner" userId="c4135e70-53ec-4cd4-a1bd-4ca908459c8c" providerId="ADAL" clId="{7F9C2C8A-03C3-431A-BE04-83FBFEAB7D91}" dt="2022-02-25T12:20:56.006" v="525" actId="553"/>
          <ac:spMkLst>
            <pc:docMk/>
            <pc:sldMk cId="1769863677" sldId="385"/>
            <ac:spMk id="39" creationId="{D87F1C78-F62E-42EB-920E-50210B835B8C}"/>
          </ac:spMkLst>
        </pc:spChg>
        <pc:spChg chg="mod">
          <ac:chgData name="Marc Feldkirchner" userId="c4135e70-53ec-4cd4-a1bd-4ca908459c8c" providerId="ADAL" clId="{7F9C2C8A-03C3-431A-BE04-83FBFEAB7D91}" dt="2022-02-25T12:20:56.006" v="525" actId="553"/>
          <ac:spMkLst>
            <pc:docMk/>
            <pc:sldMk cId="1769863677" sldId="385"/>
            <ac:spMk id="40" creationId="{E96176A8-49A1-4A98-B344-E18E879717A3}"/>
          </ac:spMkLst>
        </pc:spChg>
        <pc:spChg chg="del">
          <ac:chgData name="Marc Feldkirchner" userId="c4135e70-53ec-4cd4-a1bd-4ca908459c8c" providerId="ADAL" clId="{7F9C2C8A-03C3-431A-BE04-83FBFEAB7D91}" dt="2022-02-25T12:08:03.283" v="490" actId="478"/>
          <ac:spMkLst>
            <pc:docMk/>
            <pc:sldMk cId="1769863677" sldId="385"/>
            <ac:spMk id="41" creationId="{D8351968-52D9-4CF5-B1B9-1E5F16DAD8A2}"/>
          </ac:spMkLst>
        </pc:spChg>
        <pc:spChg chg="del">
          <ac:chgData name="Marc Feldkirchner" userId="c4135e70-53ec-4cd4-a1bd-4ca908459c8c" providerId="ADAL" clId="{7F9C2C8A-03C3-431A-BE04-83FBFEAB7D91}" dt="2022-02-25T12:08:03.283" v="490" actId="478"/>
          <ac:spMkLst>
            <pc:docMk/>
            <pc:sldMk cId="1769863677" sldId="385"/>
            <ac:spMk id="42" creationId="{D9A06F0E-91F5-433D-84E1-E2ADFB411A12}"/>
          </ac:spMkLst>
        </pc:spChg>
        <pc:spChg chg="mod">
          <ac:chgData name="Marc Feldkirchner" userId="c4135e70-53ec-4cd4-a1bd-4ca908459c8c" providerId="ADAL" clId="{7F9C2C8A-03C3-431A-BE04-83FBFEAB7D91}" dt="2022-02-25T12:19:19.343" v="513" actId="20577"/>
          <ac:spMkLst>
            <pc:docMk/>
            <pc:sldMk cId="1769863677" sldId="385"/>
            <ac:spMk id="45" creationId="{0B1198CB-D12B-421A-93D0-8C56312E30F4}"/>
          </ac:spMkLst>
        </pc:spChg>
        <pc:spChg chg="mod">
          <ac:chgData name="Marc Feldkirchner" userId="c4135e70-53ec-4cd4-a1bd-4ca908459c8c" providerId="ADAL" clId="{7F9C2C8A-03C3-431A-BE04-83FBFEAB7D91}" dt="2022-02-25T12:21:00.495" v="531" actId="5793"/>
          <ac:spMkLst>
            <pc:docMk/>
            <pc:sldMk cId="1769863677" sldId="385"/>
            <ac:spMk id="179" creationId="{BA596FC9-79E8-4C8F-B716-4B680640466C}"/>
          </ac:spMkLst>
        </pc:spChg>
        <pc:spChg chg="mod">
          <ac:chgData name="Marc Feldkirchner" userId="c4135e70-53ec-4cd4-a1bd-4ca908459c8c" providerId="ADAL" clId="{7F9C2C8A-03C3-431A-BE04-83FBFEAB7D91}" dt="2022-02-25T12:21:09.062" v="549" actId="5793"/>
          <ac:spMkLst>
            <pc:docMk/>
            <pc:sldMk cId="1769863677" sldId="385"/>
            <ac:spMk id="182" creationId="{BA714521-F0A9-44FA-B5A8-FD27D3EFC840}"/>
          </ac:spMkLst>
        </pc:spChg>
        <pc:spChg chg="mod">
          <ac:chgData name="Marc Feldkirchner" userId="c4135e70-53ec-4cd4-a1bd-4ca908459c8c" providerId="ADAL" clId="{7F9C2C8A-03C3-431A-BE04-83FBFEAB7D91}" dt="2022-02-25T12:20:49.502" v="524" actId="553"/>
          <ac:spMkLst>
            <pc:docMk/>
            <pc:sldMk cId="1769863677" sldId="385"/>
            <ac:spMk id="184" creationId="{F57A899F-DDD4-49AB-B9FC-0358D18E82DF}"/>
          </ac:spMkLst>
        </pc:spChg>
        <pc:spChg chg="mod">
          <ac:chgData name="Marc Feldkirchner" userId="c4135e70-53ec-4cd4-a1bd-4ca908459c8c" providerId="ADAL" clId="{7F9C2C8A-03C3-431A-BE04-83FBFEAB7D91}" dt="2022-02-25T12:21:19.294" v="573" actId="5793"/>
          <ac:spMkLst>
            <pc:docMk/>
            <pc:sldMk cId="1769863677" sldId="385"/>
            <ac:spMk id="185" creationId="{1136CD69-C074-465E-B9C4-D5F64CE0B09B}"/>
          </ac:spMkLst>
        </pc:spChg>
        <pc:spChg chg="del">
          <ac:chgData name="Marc Feldkirchner" userId="c4135e70-53ec-4cd4-a1bd-4ca908459c8c" providerId="ADAL" clId="{7F9C2C8A-03C3-431A-BE04-83FBFEAB7D91}" dt="2022-02-25T12:08:03.283" v="490" actId="478"/>
          <ac:spMkLst>
            <pc:docMk/>
            <pc:sldMk cId="1769863677" sldId="385"/>
            <ac:spMk id="187" creationId="{9D006762-F0F3-4076-BE97-6124B4FABEA5}"/>
          </ac:spMkLst>
        </pc:spChg>
        <pc:spChg chg="del">
          <ac:chgData name="Marc Feldkirchner" userId="c4135e70-53ec-4cd4-a1bd-4ca908459c8c" providerId="ADAL" clId="{7F9C2C8A-03C3-431A-BE04-83FBFEAB7D91}" dt="2022-02-25T12:08:03.283" v="490" actId="478"/>
          <ac:spMkLst>
            <pc:docMk/>
            <pc:sldMk cId="1769863677" sldId="385"/>
            <ac:spMk id="188" creationId="{0100F361-9136-43CC-9E16-CF4F0116BC89}"/>
          </ac:spMkLst>
        </pc:spChg>
        <pc:spChg chg="mod">
          <ac:chgData name="Marc Feldkirchner" userId="c4135e70-53ec-4cd4-a1bd-4ca908459c8c" providerId="ADAL" clId="{7F9C2C8A-03C3-431A-BE04-83FBFEAB7D91}" dt="2022-02-25T12:20:49.502" v="524" actId="553"/>
          <ac:spMkLst>
            <pc:docMk/>
            <pc:sldMk cId="1769863677" sldId="385"/>
            <ac:spMk id="190" creationId="{6F267383-00ED-4749-BF8E-39A206F44ECD}"/>
          </ac:spMkLst>
        </pc:spChg>
        <pc:spChg chg="mod">
          <ac:chgData name="Marc Feldkirchner" userId="c4135e70-53ec-4cd4-a1bd-4ca908459c8c" providerId="ADAL" clId="{7F9C2C8A-03C3-431A-BE04-83FBFEAB7D91}" dt="2022-02-25T12:21:12.571" v="555" actId="5793"/>
          <ac:spMkLst>
            <pc:docMk/>
            <pc:sldMk cId="1769863677" sldId="385"/>
            <ac:spMk id="191" creationId="{7ECDB696-7E06-4989-9BAE-8071ABC83A16}"/>
          </ac:spMkLst>
        </pc:spChg>
        <pc:spChg chg="del">
          <ac:chgData name="Marc Feldkirchner" userId="c4135e70-53ec-4cd4-a1bd-4ca908459c8c" providerId="ADAL" clId="{7F9C2C8A-03C3-431A-BE04-83FBFEAB7D91}" dt="2022-02-25T12:08:03.283" v="490" actId="478"/>
          <ac:spMkLst>
            <pc:docMk/>
            <pc:sldMk cId="1769863677" sldId="385"/>
            <ac:spMk id="193" creationId="{4407F2A3-C74A-414D-8577-CB1F9BFBFCF1}"/>
          </ac:spMkLst>
        </pc:spChg>
        <pc:spChg chg="del">
          <ac:chgData name="Marc Feldkirchner" userId="c4135e70-53ec-4cd4-a1bd-4ca908459c8c" providerId="ADAL" clId="{7F9C2C8A-03C3-431A-BE04-83FBFEAB7D91}" dt="2022-02-25T12:08:03.283" v="490" actId="478"/>
          <ac:spMkLst>
            <pc:docMk/>
            <pc:sldMk cId="1769863677" sldId="385"/>
            <ac:spMk id="194" creationId="{8BA74258-D9BE-4090-AFA9-5A9656D0DD6E}"/>
          </ac:spMkLst>
        </pc:spChg>
        <pc:spChg chg="mod">
          <ac:chgData name="Marc Feldkirchner" userId="c4135e70-53ec-4cd4-a1bd-4ca908459c8c" providerId="ADAL" clId="{7F9C2C8A-03C3-431A-BE04-83FBFEAB7D91}" dt="2022-02-25T12:21:03.480" v="537" actId="5793"/>
          <ac:spMkLst>
            <pc:docMk/>
            <pc:sldMk cId="1769863677" sldId="385"/>
            <ac:spMk id="197" creationId="{85D1901C-874E-4D64-B494-BF73E5D9949F}"/>
          </ac:spMkLst>
        </pc:spChg>
        <pc:spChg chg="mod">
          <ac:chgData name="Marc Feldkirchner" userId="c4135e70-53ec-4cd4-a1bd-4ca908459c8c" providerId="ADAL" clId="{7F9C2C8A-03C3-431A-BE04-83FBFEAB7D91}" dt="2022-02-25T12:21:06.139" v="543" actId="5793"/>
          <ac:spMkLst>
            <pc:docMk/>
            <pc:sldMk cId="1769863677" sldId="385"/>
            <ac:spMk id="200" creationId="{E72D0F0E-AAD2-486F-8138-31245D0542B4}"/>
          </ac:spMkLst>
        </pc:spChg>
        <pc:spChg chg="mod">
          <ac:chgData name="Marc Feldkirchner" userId="c4135e70-53ec-4cd4-a1bd-4ca908459c8c" providerId="ADAL" clId="{7F9C2C8A-03C3-431A-BE04-83FBFEAB7D91}" dt="2022-02-25T12:20:49.502" v="524" actId="553"/>
          <ac:spMkLst>
            <pc:docMk/>
            <pc:sldMk cId="1769863677" sldId="385"/>
            <ac:spMk id="202" creationId="{F69CD99C-670E-4658-B02C-1E7E62DDFD77}"/>
          </ac:spMkLst>
        </pc:spChg>
        <pc:spChg chg="mod">
          <ac:chgData name="Marc Feldkirchner" userId="c4135e70-53ec-4cd4-a1bd-4ca908459c8c" providerId="ADAL" clId="{7F9C2C8A-03C3-431A-BE04-83FBFEAB7D91}" dt="2022-02-25T12:21:14.960" v="561" actId="5793"/>
          <ac:spMkLst>
            <pc:docMk/>
            <pc:sldMk cId="1769863677" sldId="385"/>
            <ac:spMk id="203" creationId="{759F80D8-6C58-4E1A-B555-224CA4CA6B5B}"/>
          </ac:spMkLst>
        </pc:spChg>
        <pc:spChg chg="mod">
          <ac:chgData name="Marc Feldkirchner" userId="c4135e70-53ec-4cd4-a1bd-4ca908459c8c" providerId="ADAL" clId="{7F9C2C8A-03C3-431A-BE04-83FBFEAB7D91}" dt="2022-02-25T12:20:49.502" v="524" actId="553"/>
          <ac:spMkLst>
            <pc:docMk/>
            <pc:sldMk cId="1769863677" sldId="385"/>
            <ac:spMk id="205" creationId="{AAD21B5D-A139-4009-AB75-BA9E4F6C4C10}"/>
          </ac:spMkLst>
        </pc:spChg>
        <pc:spChg chg="mod">
          <ac:chgData name="Marc Feldkirchner" userId="c4135e70-53ec-4cd4-a1bd-4ca908459c8c" providerId="ADAL" clId="{7F9C2C8A-03C3-431A-BE04-83FBFEAB7D91}" dt="2022-02-25T12:21:17.314" v="567" actId="5793"/>
          <ac:spMkLst>
            <pc:docMk/>
            <pc:sldMk cId="1769863677" sldId="385"/>
            <ac:spMk id="206" creationId="{15F811F0-37F3-4874-9FC1-865B6871A749}"/>
          </ac:spMkLst>
        </pc:spChg>
        <pc:spChg chg="del">
          <ac:chgData name="Marc Feldkirchner" userId="c4135e70-53ec-4cd4-a1bd-4ca908459c8c" providerId="ADAL" clId="{7F9C2C8A-03C3-431A-BE04-83FBFEAB7D91}" dt="2022-02-25T12:08:03.283" v="490" actId="478"/>
          <ac:spMkLst>
            <pc:docMk/>
            <pc:sldMk cId="1769863677" sldId="385"/>
            <ac:spMk id="208" creationId="{5FC69E20-5CF8-414D-9D04-0FC1C0A0438F}"/>
          </ac:spMkLst>
        </pc:spChg>
        <pc:spChg chg="del">
          <ac:chgData name="Marc Feldkirchner" userId="c4135e70-53ec-4cd4-a1bd-4ca908459c8c" providerId="ADAL" clId="{7F9C2C8A-03C3-431A-BE04-83FBFEAB7D91}" dt="2022-02-25T12:08:03.283" v="490" actId="478"/>
          <ac:spMkLst>
            <pc:docMk/>
            <pc:sldMk cId="1769863677" sldId="385"/>
            <ac:spMk id="209" creationId="{0DF32D69-996A-4E30-8B25-8743FD9921FC}"/>
          </ac:spMkLst>
        </pc:spChg>
        <pc:spChg chg="del">
          <ac:chgData name="Marc Feldkirchner" userId="c4135e70-53ec-4cd4-a1bd-4ca908459c8c" providerId="ADAL" clId="{7F9C2C8A-03C3-431A-BE04-83FBFEAB7D91}" dt="2022-02-25T12:08:03.283" v="490" actId="478"/>
          <ac:spMkLst>
            <pc:docMk/>
            <pc:sldMk cId="1769863677" sldId="385"/>
            <ac:spMk id="211" creationId="{D7D67B0B-1B2A-47EF-B324-2111E1A3897F}"/>
          </ac:spMkLst>
        </pc:spChg>
        <pc:spChg chg="del">
          <ac:chgData name="Marc Feldkirchner" userId="c4135e70-53ec-4cd4-a1bd-4ca908459c8c" providerId="ADAL" clId="{7F9C2C8A-03C3-431A-BE04-83FBFEAB7D91}" dt="2022-02-25T12:08:03.283" v="490" actId="478"/>
          <ac:spMkLst>
            <pc:docMk/>
            <pc:sldMk cId="1769863677" sldId="385"/>
            <ac:spMk id="212" creationId="{FD55FBBA-F3B3-4550-A4BA-838F44C7EDF0}"/>
          </ac:spMkLst>
        </pc:spChg>
      </pc:sldChg>
      <pc:sldChg chg="add del">
        <pc:chgData name="Marc Feldkirchner" userId="c4135e70-53ec-4cd4-a1bd-4ca908459c8c" providerId="ADAL" clId="{7F9C2C8A-03C3-431A-BE04-83FBFEAB7D91}" dt="2022-02-25T11:58:45.193" v="332" actId="47"/>
        <pc:sldMkLst>
          <pc:docMk/>
          <pc:sldMk cId="2913147444" sldId="385"/>
        </pc:sldMkLst>
      </pc:sldChg>
      <pc:sldChg chg="addSp delSp modSp new mod modClrScheme chgLayout">
        <pc:chgData name="Marc Feldkirchner" userId="c4135e70-53ec-4cd4-a1bd-4ca908459c8c" providerId="ADAL" clId="{7F9C2C8A-03C3-431A-BE04-83FBFEAB7D91}" dt="2022-03-10T22:29:32.048" v="1428" actId="242"/>
        <pc:sldMkLst>
          <pc:docMk/>
          <pc:sldMk cId="904502109" sldId="386"/>
        </pc:sldMkLst>
        <pc:spChg chg="del mod ord">
          <ac:chgData name="Marc Feldkirchner" userId="c4135e70-53ec-4cd4-a1bd-4ca908459c8c" providerId="ADAL" clId="{7F9C2C8A-03C3-431A-BE04-83FBFEAB7D91}" dt="2022-03-10T22:16:49.116" v="1221" actId="700"/>
          <ac:spMkLst>
            <pc:docMk/>
            <pc:sldMk cId="904502109" sldId="386"/>
            <ac:spMk id="2" creationId="{57FACB2D-69B0-4C8B-89EA-6C9259B2DDC6}"/>
          </ac:spMkLst>
        </pc:spChg>
        <pc:spChg chg="mod ord">
          <ac:chgData name="Marc Feldkirchner" userId="c4135e70-53ec-4cd4-a1bd-4ca908459c8c" providerId="ADAL" clId="{7F9C2C8A-03C3-431A-BE04-83FBFEAB7D91}" dt="2022-03-10T22:16:49.116" v="1221" actId="700"/>
          <ac:spMkLst>
            <pc:docMk/>
            <pc:sldMk cId="904502109" sldId="386"/>
            <ac:spMk id="3" creationId="{8D1B346C-11BD-4498-9FBF-C88399F9AA81}"/>
          </ac:spMkLst>
        </pc:spChg>
        <pc:spChg chg="del">
          <ac:chgData name="Marc Feldkirchner" userId="c4135e70-53ec-4cd4-a1bd-4ca908459c8c" providerId="ADAL" clId="{7F9C2C8A-03C3-431A-BE04-83FBFEAB7D91}" dt="2022-03-10T22:16:49.116" v="1221" actId="700"/>
          <ac:spMkLst>
            <pc:docMk/>
            <pc:sldMk cId="904502109" sldId="386"/>
            <ac:spMk id="4" creationId="{427E0115-1015-4AE2-AC78-D930C0148FFE}"/>
          </ac:spMkLst>
        </pc:spChg>
        <pc:spChg chg="del mod ord">
          <ac:chgData name="Marc Feldkirchner" userId="c4135e70-53ec-4cd4-a1bd-4ca908459c8c" providerId="ADAL" clId="{7F9C2C8A-03C3-431A-BE04-83FBFEAB7D91}" dt="2022-03-10T22:16:49.116" v="1221" actId="700"/>
          <ac:spMkLst>
            <pc:docMk/>
            <pc:sldMk cId="904502109" sldId="386"/>
            <ac:spMk id="5" creationId="{0FC7A60A-886B-4665-8E9C-B9987AF0F439}"/>
          </ac:spMkLst>
        </pc:spChg>
        <pc:spChg chg="del mod ord">
          <ac:chgData name="Marc Feldkirchner" userId="c4135e70-53ec-4cd4-a1bd-4ca908459c8c" providerId="ADAL" clId="{7F9C2C8A-03C3-431A-BE04-83FBFEAB7D91}" dt="2022-03-10T22:16:49.116" v="1221" actId="700"/>
          <ac:spMkLst>
            <pc:docMk/>
            <pc:sldMk cId="904502109" sldId="386"/>
            <ac:spMk id="6" creationId="{F1DE3ACB-6D81-4300-A8B6-6EBF60BD8BA9}"/>
          </ac:spMkLst>
        </pc:spChg>
        <pc:spChg chg="del">
          <ac:chgData name="Marc Feldkirchner" userId="c4135e70-53ec-4cd4-a1bd-4ca908459c8c" providerId="ADAL" clId="{7F9C2C8A-03C3-431A-BE04-83FBFEAB7D91}" dt="2022-03-10T22:16:49.116" v="1221" actId="700"/>
          <ac:spMkLst>
            <pc:docMk/>
            <pc:sldMk cId="904502109" sldId="386"/>
            <ac:spMk id="7" creationId="{688F6370-0475-4F35-9B1E-78CAE3AC83AB}"/>
          </ac:spMkLst>
        </pc:spChg>
        <pc:spChg chg="add mod ord">
          <ac:chgData name="Marc Feldkirchner" userId="c4135e70-53ec-4cd4-a1bd-4ca908459c8c" providerId="ADAL" clId="{7F9C2C8A-03C3-431A-BE04-83FBFEAB7D91}" dt="2022-03-10T22:16:49.116" v="1221" actId="700"/>
          <ac:spMkLst>
            <pc:docMk/>
            <pc:sldMk cId="904502109" sldId="386"/>
            <ac:spMk id="8" creationId="{DC8EB20D-6664-4CDA-BF8B-636E085332AA}"/>
          </ac:spMkLst>
        </pc:spChg>
        <pc:spChg chg="add mod ord">
          <ac:chgData name="Marc Feldkirchner" userId="c4135e70-53ec-4cd4-a1bd-4ca908459c8c" providerId="ADAL" clId="{7F9C2C8A-03C3-431A-BE04-83FBFEAB7D91}" dt="2022-03-10T22:16:49.116" v="1221" actId="700"/>
          <ac:spMkLst>
            <pc:docMk/>
            <pc:sldMk cId="904502109" sldId="386"/>
            <ac:spMk id="9" creationId="{154405F3-D143-468F-8659-D78DD046B61A}"/>
          </ac:spMkLst>
        </pc:spChg>
        <pc:spChg chg="add del mod ord">
          <ac:chgData name="Marc Feldkirchner" userId="c4135e70-53ec-4cd4-a1bd-4ca908459c8c" providerId="ADAL" clId="{7F9C2C8A-03C3-431A-BE04-83FBFEAB7D91}" dt="2022-03-10T22:16:51.141" v="1222" actId="478"/>
          <ac:spMkLst>
            <pc:docMk/>
            <pc:sldMk cId="904502109" sldId="386"/>
            <ac:spMk id="10" creationId="{53D310E3-11B9-4CDC-8AAE-637AE26A948E}"/>
          </ac:spMkLst>
        </pc:spChg>
        <pc:spChg chg="add mod">
          <ac:chgData name="Marc Feldkirchner" userId="c4135e70-53ec-4cd4-a1bd-4ca908459c8c" providerId="ADAL" clId="{7F9C2C8A-03C3-431A-BE04-83FBFEAB7D91}" dt="2022-03-10T22:28:45.281" v="1412" actId="113"/>
          <ac:spMkLst>
            <pc:docMk/>
            <pc:sldMk cId="904502109" sldId="386"/>
            <ac:spMk id="11" creationId="{334ACC97-AD98-4E80-8406-035418B360B1}"/>
          </ac:spMkLst>
        </pc:spChg>
        <pc:spChg chg="add del mod">
          <ac:chgData name="Marc Feldkirchner" userId="c4135e70-53ec-4cd4-a1bd-4ca908459c8c" providerId="ADAL" clId="{7F9C2C8A-03C3-431A-BE04-83FBFEAB7D91}" dt="2022-03-10T22:19:23.920" v="1248" actId="478"/>
          <ac:spMkLst>
            <pc:docMk/>
            <pc:sldMk cId="904502109" sldId="386"/>
            <ac:spMk id="12" creationId="{0651DE1C-3674-40BB-A138-CEA809B4765C}"/>
          </ac:spMkLst>
        </pc:spChg>
        <pc:spChg chg="add del mod">
          <ac:chgData name="Marc Feldkirchner" userId="c4135e70-53ec-4cd4-a1bd-4ca908459c8c" providerId="ADAL" clId="{7F9C2C8A-03C3-431A-BE04-83FBFEAB7D91}" dt="2022-03-10T22:19:23.920" v="1248" actId="478"/>
          <ac:spMkLst>
            <pc:docMk/>
            <pc:sldMk cId="904502109" sldId="386"/>
            <ac:spMk id="13" creationId="{D117EB88-056C-4629-ADC5-AE7CD92608F3}"/>
          </ac:spMkLst>
        </pc:spChg>
        <pc:spChg chg="add del mod">
          <ac:chgData name="Marc Feldkirchner" userId="c4135e70-53ec-4cd4-a1bd-4ca908459c8c" providerId="ADAL" clId="{7F9C2C8A-03C3-431A-BE04-83FBFEAB7D91}" dt="2022-03-10T22:19:23.920" v="1248" actId="478"/>
          <ac:spMkLst>
            <pc:docMk/>
            <pc:sldMk cId="904502109" sldId="386"/>
            <ac:spMk id="14" creationId="{B8E9A0AD-2C3C-4237-B1A1-37EE25B166E4}"/>
          </ac:spMkLst>
        </pc:spChg>
        <pc:spChg chg="add mod ord">
          <ac:chgData name="Marc Feldkirchner" userId="c4135e70-53ec-4cd4-a1bd-4ca908459c8c" providerId="ADAL" clId="{7F9C2C8A-03C3-431A-BE04-83FBFEAB7D91}" dt="2022-03-10T22:20:23.780" v="1256" actId="166"/>
          <ac:spMkLst>
            <pc:docMk/>
            <pc:sldMk cId="904502109" sldId="386"/>
            <ac:spMk id="15" creationId="{5A96C7BB-7385-48C7-B71F-E8E22481F9F8}"/>
          </ac:spMkLst>
        </pc:spChg>
        <pc:spChg chg="add mod">
          <ac:chgData name="Marc Feldkirchner" userId="c4135e70-53ec-4cd4-a1bd-4ca908459c8c" providerId="ADAL" clId="{7F9C2C8A-03C3-431A-BE04-83FBFEAB7D91}" dt="2022-03-10T22:29:22.415" v="1426" actId="121"/>
          <ac:spMkLst>
            <pc:docMk/>
            <pc:sldMk cId="904502109" sldId="386"/>
            <ac:spMk id="16" creationId="{2F0FF85A-C9FA-43DF-8619-29F764465CCB}"/>
          </ac:spMkLst>
        </pc:spChg>
        <pc:spChg chg="add mod">
          <ac:chgData name="Marc Feldkirchner" userId="c4135e70-53ec-4cd4-a1bd-4ca908459c8c" providerId="ADAL" clId="{7F9C2C8A-03C3-431A-BE04-83FBFEAB7D91}" dt="2022-03-10T22:29:32.048" v="1428" actId="242"/>
          <ac:spMkLst>
            <pc:docMk/>
            <pc:sldMk cId="904502109" sldId="386"/>
            <ac:spMk id="17" creationId="{32B316EB-B7BF-4EDE-8EB0-4D1D9529AB28}"/>
          </ac:spMkLst>
        </pc:spChg>
        <pc:spChg chg="add mod">
          <ac:chgData name="Marc Feldkirchner" userId="c4135e70-53ec-4cd4-a1bd-4ca908459c8c" providerId="ADAL" clId="{7F9C2C8A-03C3-431A-BE04-83FBFEAB7D91}" dt="2022-03-10T22:29:32.048" v="1428" actId="242"/>
          <ac:spMkLst>
            <pc:docMk/>
            <pc:sldMk cId="904502109" sldId="386"/>
            <ac:spMk id="18" creationId="{0280D26E-1EEC-49B1-9E80-A33E530FAC94}"/>
          </ac:spMkLst>
        </pc:spChg>
        <pc:spChg chg="add mod">
          <ac:chgData name="Marc Feldkirchner" userId="c4135e70-53ec-4cd4-a1bd-4ca908459c8c" providerId="ADAL" clId="{7F9C2C8A-03C3-431A-BE04-83FBFEAB7D91}" dt="2022-03-10T22:27:16.339" v="1400" actId="113"/>
          <ac:spMkLst>
            <pc:docMk/>
            <pc:sldMk cId="904502109" sldId="386"/>
            <ac:spMk id="28" creationId="{32A1994B-348B-4C6A-9E5E-EF9F7DA4CAB0}"/>
          </ac:spMkLst>
        </pc:spChg>
        <pc:spChg chg="add mod">
          <ac:chgData name="Marc Feldkirchner" userId="c4135e70-53ec-4cd4-a1bd-4ca908459c8c" providerId="ADAL" clId="{7F9C2C8A-03C3-431A-BE04-83FBFEAB7D91}" dt="2022-03-10T22:27:15.954" v="1399" actId="113"/>
          <ac:spMkLst>
            <pc:docMk/>
            <pc:sldMk cId="904502109" sldId="386"/>
            <ac:spMk id="29" creationId="{6135C559-7193-42E0-A9F7-658CF49ABEC5}"/>
          </ac:spMkLst>
        </pc:spChg>
        <pc:spChg chg="add mod">
          <ac:chgData name="Marc Feldkirchner" userId="c4135e70-53ec-4cd4-a1bd-4ca908459c8c" providerId="ADAL" clId="{7F9C2C8A-03C3-431A-BE04-83FBFEAB7D91}" dt="2022-03-10T22:27:15.042" v="1397" actId="113"/>
          <ac:spMkLst>
            <pc:docMk/>
            <pc:sldMk cId="904502109" sldId="386"/>
            <ac:spMk id="30" creationId="{86553C97-1A86-41C5-9F75-3AA1966D0C8A}"/>
          </ac:spMkLst>
        </pc:spChg>
        <pc:spChg chg="add mod">
          <ac:chgData name="Marc Feldkirchner" userId="c4135e70-53ec-4cd4-a1bd-4ca908459c8c" providerId="ADAL" clId="{7F9C2C8A-03C3-431A-BE04-83FBFEAB7D91}" dt="2022-03-10T22:27:15.391" v="1398" actId="113"/>
          <ac:spMkLst>
            <pc:docMk/>
            <pc:sldMk cId="904502109" sldId="386"/>
            <ac:spMk id="31" creationId="{1476FC46-5407-4B82-9B4F-655F55D8B3D7}"/>
          </ac:spMkLst>
        </pc:spChg>
        <pc:spChg chg="add mod ord">
          <ac:chgData name="Marc Feldkirchner" userId="c4135e70-53ec-4cd4-a1bd-4ca908459c8c" providerId="ADAL" clId="{7F9C2C8A-03C3-431A-BE04-83FBFEAB7D91}" dt="2022-03-10T22:27:36.292" v="1402" actId="1582"/>
          <ac:spMkLst>
            <pc:docMk/>
            <pc:sldMk cId="904502109" sldId="386"/>
            <ac:spMk id="32" creationId="{314C9239-B92F-46F3-BE6B-B8BB9CE763DF}"/>
          </ac:spMkLst>
        </pc:spChg>
        <pc:cxnChg chg="add mod">
          <ac:chgData name="Marc Feldkirchner" userId="c4135e70-53ec-4cd4-a1bd-4ca908459c8c" providerId="ADAL" clId="{7F9C2C8A-03C3-431A-BE04-83FBFEAB7D91}" dt="2022-03-10T22:27:25.305" v="1401" actId="1582"/>
          <ac:cxnSpMkLst>
            <pc:docMk/>
            <pc:sldMk cId="904502109" sldId="386"/>
            <ac:cxnSpMk id="20" creationId="{58C90E7C-E027-4CDC-BDAF-88986B36AC9C}"/>
          </ac:cxnSpMkLst>
        </pc:cxnChg>
        <pc:cxnChg chg="add mod">
          <ac:chgData name="Marc Feldkirchner" userId="c4135e70-53ec-4cd4-a1bd-4ca908459c8c" providerId="ADAL" clId="{7F9C2C8A-03C3-431A-BE04-83FBFEAB7D91}" dt="2022-03-10T22:27:25.305" v="1401" actId="1582"/>
          <ac:cxnSpMkLst>
            <pc:docMk/>
            <pc:sldMk cId="904502109" sldId="386"/>
            <ac:cxnSpMk id="23" creationId="{497782F6-A9C1-4406-9F41-925F871E3A58}"/>
          </ac:cxnSpMkLst>
        </pc:cxnChg>
      </pc:sldChg>
      <pc:sldChg chg="addSp delSp modSp add mod">
        <pc:chgData name="Marc Feldkirchner" userId="c4135e70-53ec-4cd4-a1bd-4ca908459c8c" providerId="ADAL" clId="{7F9C2C8A-03C3-431A-BE04-83FBFEAB7D91}" dt="2022-03-10T22:42:37.128" v="1556" actId="242"/>
        <pc:sldMkLst>
          <pc:docMk/>
          <pc:sldMk cId="1181553170" sldId="387"/>
        </pc:sldMkLst>
        <pc:spChg chg="add del mod">
          <ac:chgData name="Marc Feldkirchner" userId="c4135e70-53ec-4cd4-a1bd-4ca908459c8c" providerId="ADAL" clId="{7F9C2C8A-03C3-431A-BE04-83FBFEAB7D91}" dt="2022-03-10T22:32:10.369" v="1457" actId="478"/>
          <ac:spMkLst>
            <pc:docMk/>
            <pc:sldMk cId="1181553170" sldId="387"/>
            <ac:spMk id="2" creationId="{576F2CA7-A9EB-48B7-B3BD-6CA89CE4038E}"/>
          </ac:spMkLst>
        </pc:spChg>
        <pc:spChg chg="add mod">
          <ac:chgData name="Marc Feldkirchner" userId="c4135e70-53ec-4cd4-a1bd-4ca908459c8c" providerId="ADAL" clId="{7F9C2C8A-03C3-431A-BE04-83FBFEAB7D91}" dt="2022-03-10T22:39:41.161" v="1538" actId="207"/>
          <ac:spMkLst>
            <pc:docMk/>
            <pc:sldMk cId="1181553170" sldId="387"/>
            <ac:spMk id="4" creationId="{E90A3426-F52D-4252-AD3A-82D5539816D5}"/>
          </ac:spMkLst>
        </pc:spChg>
        <pc:spChg chg="add del mod">
          <ac:chgData name="Marc Feldkirchner" userId="c4135e70-53ec-4cd4-a1bd-4ca908459c8c" providerId="ADAL" clId="{7F9C2C8A-03C3-431A-BE04-83FBFEAB7D91}" dt="2022-03-10T22:41:39.888" v="1544" actId="478"/>
          <ac:spMkLst>
            <pc:docMk/>
            <pc:sldMk cId="1181553170" sldId="387"/>
            <ac:spMk id="5" creationId="{DC913BB7-51AD-4B7C-98A3-3ECDC7FF022A}"/>
          </ac:spMkLst>
        </pc:spChg>
        <pc:spChg chg="mod">
          <ac:chgData name="Marc Feldkirchner" userId="c4135e70-53ec-4cd4-a1bd-4ca908459c8c" providerId="ADAL" clId="{7F9C2C8A-03C3-431A-BE04-83FBFEAB7D91}" dt="2022-03-10T22:42:20.163" v="1552" actId="20577"/>
          <ac:spMkLst>
            <pc:docMk/>
            <pc:sldMk cId="1181553170" sldId="387"/>
            <ac:spMk id="11" creationId="{334ACC97-AD98-4E80-8406-035418B360B1}"/>
          </ac:spMkLst>
        </pc:spChg>
        <pc:spChg chg="del">
          <ac:chgData name="Marc Feldkirchner" userId="c4135e70-53ec-4cd4-a1bd-4ca908459c8c" providerId="ADAL" clId="{7F9C2C8A-03C3-431A-BE04-83FBFEAB7D91}" dt="2022-03-10T22:30:05.443" v="1437" actId="478"/>
          <ac:spMkLst>
            <pc:docMk/>
            <pc:sldMk cId="1181553170" sldId="387"/>
            <ac:spMk id="15" creationId="{5A96C7BB-7385-48C7-B71F-E8E22481F9F8}"/>
          </ac:spMkLst>
        </pc:spChg>
        <pc:spChg chg="mod">
          <ac:chgData name="Marc Feldkirchner" userId="c4135e70-53ec-4cd4-a1bd-4ca908459c8c" providerId="ADAL" clId="{7F9C2C8A-03C3-431A-BE04-83FBFEAB7D91}" dt="2022-03-10T22:42:32.007" v="1553"/>
          <ac:spMkLst>
            <pc:docMk/>
            <pc:sldMk cId="1181553170" sldId="387"/>
            <ac:spMk id="16" creationId="{2F0FF85A-C9FA-43DF-8619-29F764465CCB}"/>
          </ac:spMkLst>
        </pc:spChg>
        <pc:spChg chg="mod">
          <ac:chgData name="Marc Feldkirchner" userId="c4135e70-53ec-4cd4-a1bd-4ca908459c8c" providerId="ADAL" clId="{7F9C2C8A-03C3-431A-BE04-83FBFEAB7D91}" dt="2022-03-10T22:42:37.128" v="1556" actId="242"/>
          <ac:spMkLst>
            <pc:docMk/>
            <pc:sldMk cId="1181553170" sldId="387"/>
            <ac:spMk id="17" creationId="{32B316EB-B7BF-4EDE-8EB0-4D1D9529AB28}"/>
          </ac:spMkLst>
        </pc:spChg>
        <pc:spChg chg="mod">
          <ac:chgData name="Marc Feldkirchner" userId="c4135e70-53ec-4cd4-a1bd-4ca908459c8c" providerId="ADAL" clId="{7F9C2C8A-03C3-431A-BE04-83FBFEAB7D91}" dt="2022-03-10T22:42:37.128" v="1556" actId="242"/>
          <ac:spMkLst>
            <pc:docMk/>
            <pc:sldMk cId="1181553170" sldId="387"/>
            <ac:spMk id="18" creationId="{0280D26E-1EEC-49B1-9E80-A33E530FAC94}"/>
          </ac:spMkLst>
        </pc:spChg>
        <pc:spChg chg="add del mod">
          <ac:chgData name="Marc Feldkirchner" userId="c4135e70-53ec-4cd4-a1bd-4ca908459c8c" providerId="ADAL" clId="{7F9C2C8A-03C3-431A-BE04-83FBFEAB7D91}" dt="2022-03-10T22:35:12.955" v="1477" actId="478"/>
          <ac:spMkLst>
            <pc:docMk/>
            <pc:sldMk cId="1181553170" sldId="387"/>
            <ac:spMk id="19" creationId="{4555D528-BE07-4985-9414-4EB813CBE16F}"/>
          </ac:spMkLst>
        </pc:spChg>
        <pc:spChg chg="add del mod">
          <ac:chgData name="Marc Feldkirchner" userId="c4135e70-53ec-4cd4-a1bd-4ca908459c8c" providerId="ADAL" clId="{7F9C2C8A-03C3-431A-BE04-83FBFEAB7D91}" dt="2022-03-10T22:36:27.142" v="1490" actId="478"/>
          <ac:spMkLst>
            <pc:docMk/>
            <pc:sldMk cId="1181553170" sldId="387"/>
            <ac:spMk id="21" creationId="{EA87BF25-9705-49F1-9DB3-8AB2D2D0A54A}"/>
          </ac:spMkLst>
        </pc:spChg>
        <pc:spChg chg="add del mod">
          <ac:chgData name="Marc Feldkirchner" userId="c4135e70-53ec-4cd4-a1bd-4ca908459c8c" providerId="ADAL" clId="{7F9C2C8A-03C3-431A-BE04-83FBFEAB7D91}" dt="2022-03-10T22:34:06.787" v="1474" actId="478"/>
          <ac:spMkLst>
            <pc:docMk/>
            <pc:sldMk cId="1181553170" sldId="387"/>
            <ac:spMk id="22" creationId="{30703BBF-FDE6-4841-8FD6-CF69A26B8B95}"/>
          </ac:spMkLst>
        </pc:spChg>
        <pc:spChg chg="add mod">
          <ac:chgData name="Marc Feldkirchner" userId="c4135e70-53ec-4cd4-a1bd-4ca908459c8c" providerId="ADAL" clId="{7F9C2C8A-03C3-431A-BE04-83FBFEAB7D91}" dt="2022-03-10T22:39:44.981" v="1540" actId="207"/>
          <ac:spMkLst>
            <pc:docMk/>
            <pc:sldMk cId="1181553170" sldId="387"/>
            <ac:spMk id="24" creationId="{8F0EC3A2-11A0-4ADD-B7F5-CD7DA6A0AD7A}"/>
          </ac:spMkLst>
        </pc:spChg>
        <pc:spChg chg="add mod">
          <ac:chgData name="Marc Feldkirchner" userId="c4135e70-53ec-4cd4-a1bd-4ca908459c8c" providerId="ADAL" clId="{7F9C2C8A-03C3-431A-BE04-83FBFEAB7D91}" dt="2022-03-10T22:39:43.163" v="1539" actId="207"/>
          <ac:spMkLst>
            <pc:docMk/>
            <pc:sldMk cId="1181553170" sldId="387"/>
            <ac:spMk id="25" creationId="{8758D3A5-7F31-4CE5-91D6-2C49A175E4BB}"/>
          </ac:spMkLst>
        </pc:spChg>
        <pc:spChg chg="del">
          <ac:chgData name="Marc Feldkirchner" userId="c4135e70-53ec-4cd4-a1bd-4ca908459c8c" providerId="ADAL" clId="{7F9C2C8A-03C3-431A-BE04-83FBFEAB7D91}" dt="2022-03-10T22:30:01.170" v="1434" actId="478"/>
          <ac:spMkLst>
            <pc:docMk/>
            <pc:sldMk cId="1181553170" sldId="387"/>
            <ac:spMk id="28" creationId="{32A1994B-348B-4C6A-9E5E-EF9F7DA4CAB0}"/>
          </ac:spMkLst>
        </pc:spChg>
        <pc:spChg chg="del">
          <ac:chgData name="Marc Feldkirchner" userId="c4135e70-53ec-4cd4-a1bd-4ca908459c8c" providerId="ADAL" clId="{7F9C2C8A-03C3-431A-BE04-83FBFEAB7D91}" dt="2022-03-10T22:30:04.763" v="1436" actId="478"/>
          <ac:spMkLst>
            <pc:docMk/>
            <pc:sldMk cId="1181553170" sldId="387"/>
            <ac:spMk id="29" creationId="{6135C559-7193-42E0-A9F7-658CF49ABEC5}"/>
          </ac:spMkLst>
        </pc:spChg>
        <pc:spChg chg="del">
          <ac:chgData name="Marc Feldkirchner" userId="c4135e70-53ec-4cd4-a1bd-4ca908459c8c" providerId="ADAL" clId="{7F9C2C8A-03C3-431A-BE04-83FBFEAB7D91}" dt="2022-03-10T22:30:07.699" v="1438" actId="478"/>
          <ac:spMkLst>
            <pc:docMk/>
            <pc:sldMk cId="1181553170" sldId="387"/>
            <ac:spMk id="30" creationId="{86553C97-1A86-41C5-9F75-3AA1966D0C8A}"/>
          </ac:spMkLst>
        </pc:spChg>
        <pc:spChg chg="del">
          <ac:chgData name="Marc Feldkirchner" userId="c4135e70-53ec-4cd4-a1bd-4ca908459c8c" providerId="ADAL" clId="{7F9C2C8A-03C3-431A-BE04-83FBFEAB7D91}" dt="2022-03-10T22:30:09.570" v="1439" actId="478"/>
          <ac:spMkLst>
            <pc:docMk/>
            <pc:sldMk cId="1181553170" sldId="387"/>
            <ac:spMk id="31" creationId="{1476FC46-5407-4B82-9B4F-655F55D8B3D7}"/>
          </ac:spMkLst>
        </pc:spChg>
        <pc:spChg chg="del">
          <ac:chgData name="Marc Feldkirchner" userId="c4135e70-53ec-4cd4-a1bd-4ca908459c8c" providerId="ADAL" clId="{7F9C2C8A-03C3-431A-BE04-83FBFEAB7D91}" dt="2022-03-10T22:30:02.235" v="1435" actId="478"/>
          <ac:spMkLst>
            <pc:docMk/>
            <pc:sldMk cId="1181553170" sldId="387"/>
            <ac:spMk id="32" creationId="{314C9239-B92F-46F3-BE6B-B8BB9CE763DF}"/>
          </ac:spMkLst>
        </pc:spChg>
        <pc:cxnChg chg="del">
          <ac:chgData name="Marc Feldkirchner" userId="c4135e70-53ec-4cd4-a1bd-4ca908459c8c" providerId="ADAL" clId="{7F9C2C8A-03C3-431A-BE04-83FBFEAB7D91}" dt="2022-03-10T22:30:11.473" v="1440" actId="478"/>
          <ac:cxnSpMkLst>
            <pc:docMk/>
            <pc:sldMk cId="1181553170" sldId="387"/>
            <ac:cxnSpMk id="20" creationId="{58C90E7C-E027-4CDC-BDAF-88986B36AC9C}"/>
          </ac:cxnSpMkLst>
        </pc:cxnChg>
        <pc:cxnChg chg="del">
          <ac:chgData name="Marc Feldkirchner" userId="c4135e70-53ec-4cd4-a1bd-4ca908459c8c" providerId="ADAL" clId="{7F9C2C8A-03C3-431A-BE04-83FBFEAB7D91}" dt="2022-03-10T22:30:12.276" v="1441" actId="478"/>
          <ac:cxnSpMkLst>
            <pc:docMk/>
            <pc:sldMk cId="1181553170" sldId="387"/>
            <ac:cxnSpMk id="23" creationId="{497782F6-A9C1-4406-9F41-925F871E3A58}"/>
          </ac:cxnSpMkLst>
        </pc:cxnChg>
      </pc:sldChg>
      <pc:sldChg chg="addSp delSp modSp new mod">
        <pc:chgData name="Marc Feldkirchner" userId="c4135e70-53ec-4cd4-a1bd-4ca908459c8c" providerId="ADAL" clId="{7F9C2C8A-03C3-431A-BE04-83FBFEAB7D91}" dt="2022-03-22T16:36:57.699" v="1927" actId="207"/>
        <pc:sldMkLst>
          <pc:docMk/>
          <pc:sldMk cId="2311678989" sldId="388"/>
        </pc:sldMkLst>
        <pc:spChg chg="add del">
          <ac:chgData name="Marc Feldkirchner" userId="c4135e70-53ec-4cd4-a1bd-4ca908459c8c" providerId="ADAL" clId="{7F9C2C8A-03C3-431A-BE04-83FBFEAB7D91}" dt="2022-03-10T22:51:46.653" v="1565" actId="478"/>
          <ac:spMkLst>
            <pc:docMk/>
            <pc:sldMk cId="2311678989" sldId="388"/>
            <ac:spMk id="5" creationId="{9E00F2EC-F3B9-4C4C-AA45-997C98A58BBA}"/>
          </ac:spMkLst>
        </pc:spChg>
        <pc:spChg chg="add del mod">
          <ac:chgData name="Marc Feldkirchner" userId="c4135e70-53ec-4cd4-a1bd-4ca908459c8c" providerId="ADAL" clId="{7F9C2C8A-03C3-431A-BE04-83FBFEAB7D91}" dt="2022-03-10T22:51:39.138" v="1561"/>
          <ac:spMkLst>
            <pc:docMk/>
            <pc:sldMk cId="2311678989" sldId="388"/>
            <ac:spMk id="6" creationId="{85548D3B-4E42-4B85-A859-774435A7287C}"/>
          </ac:spMkLst>
        </pc:spChg>
        <pc:spChg chg="add del mod">
          <ac:chgData name="Marc Feldkirchner" userId="c4135e70-53ec-4cd4-a1bd-4ca908459c8c" providerId="ADAL" clId="{7F9C2C8A-03C3-431A-BE04-83FBFEAB7D91}" dt="2022-03-10T22:51:39.138" v="1561"/>
          <ac:spMkLst>
            <pc:docMk/>
            <pc:sldMk cId="2311678989" sldId="388"/>
            <ac:spMk id="7" creationId="{2B47A0FC-4F0A-4A97-81B9-CC7C816B4CE4}"/>
          </ac:spMkLst>
        </pc:spChg>
        <pc:spChg chg="add del mod">
          <ac:chgData name="Marc Feldkirchner" userId="c4135e70-53ec-4cd4-a1bd-4ca908459c8c" providerId="ADAL" clId="{7F9C2C8A-03C3-431A-BE04-83FBFEAB7D91}" dt="2022-03-10T22:51:39.138" v="1561"/>
          <ac:spMkLst>
            <pc:docMk/>
            <pc:sldMk cId="2311678989" sldId="388"/>
            <ac:spMk id="8" creationId="{393459CB-B68A-4368-9AB5-E1FAB51FDB4C}"/>
          </ac:spMkLst>
        </pc:spChg>
        <pc:spChg chg="add del mod">
          <ac:chgData name="Marc Feldkirchner" userId="c4135e70-53ec-4cd4-a1bd-4ca908459c8c" providerId="ADAL" clId="{7F9C2C8A-03C3-431A-BE04-83FBFEAB7D91}" dt="2022-03-10T22:51:39.138" v="1561"/>
          <ac:spMkLst>
            <pc:docMk/>
            <pc:sldMk cId="2311678989" sldId="388"/>
            <ac:spMk id="9" creationId="{557525BD-3C4E-44E3-8768-0D272DA45042}"/>
          </ac:spMkLst>
        </pc:spChg>
        <pc:spChg chg="add del mod">
          <ac:chgData name="Marc Feldkirchner" userId="c4135e70-53ec-4cd4-a1bd-4ca908459c8c" providerId="ADAL" clId="{7F9C2C8A-03C3-431A-BE04-83FBFEAB7D91}" dt="2022-03-10T22:51:39.138" v="1561"/>
          <ac:spMkLst>
            <pc:docMk/>
            <pc:sldMk cId="2311678989" sldId="388"/>
            <ac:spMk id="10" creationId="{864F7831-1666-4703-8631-D9271BFF76F8}"/>
          </ac:spMkLst>
        </pc:spChg>
        <pc:spChg chg="add del mod">
          <ac:chgData name="Marc Feldkirchner" userId="c4135e70-53ec-4cd4-a1bd-4ca908459c8c" providerId="ADAL" clId="{7F9C2C8A-03C3-431A-BE04-83FBFEAB7D91}" dt="2022-03-10T22:51:39.138" v="1561"/>
          <ac:spMkLst>
            <pc:docMk/>
            <pc:sldMk cId="2311678989" sldId="388"/>
            <ac:spMk id="11" creationId="{17EC888E-064B-4741-B24A-BBDFD2A9BB39}"/>
          </ac:spMkLst>
        </pc:spChg>
        <pc:spChg chg="add del mod">
          <ac:chgData name="Marc Feldkirchner" userId="c4135e70-53ec-4cd4-a1bd-4ca908459c8c" providerId="ADAL" clId="{7F9C2C8A-03C3-431A-BE04-83FBFEAB7D91}" dt="2022-03-10T22:51:39.138" v="1561"/>
          <ac:spMkLst>
            <pc:docMk/>
            <pc:sldMk cId="2311678989" sldId="388"/>
            <ac:spMk id="12" creationId="{E29318C6-8AB6-4511-893E-AF1B6F0B3C7D}"/>
          </ac:spMkLst>
        </pc:spChg>
        <pc:spChg chg="add del mod">
          <ac:chgData name="Marc Feldkirchner" userId="c4135e70-53ec-4cd4-a1bd-4ca908459c8c" providerId="ADAL" clId="{7F9C2C8A-03C3-431A-BE04-83FBFEAB7D91}" dt="2022-03-10T22:51:39.138" v="1561"/>
          <ac:spMkLst>
            <pc:docMk/>
            <pc:sldMk cId="2311678989" sldId="388"/>
            <ac:spMk id="13" creationId="{DEE4E7AF-A83F-47A4-A309-D4DD5FF0DD76}"/>
          </ac:spMkLst>
        </pc:spChg>
        <pc:spChg chg="add del mod">
          <ac:chgData name="Marc Feldkirchner" userId="c4135e70-53ec-4cd4-a1bd-4ca908459c8c" providerId="ADAL" clId="{7F9C2C8A-03C3-431A-BE04-83FBFEAB7D91}" dt="2022-03-10T22:51:39.138" v="1561"/>
          <ac:spMkLst>
            <pc:docMk/>
            <pc:sldMk cId="2311678989" sldId="388"/>
            <ac:spMk id="14" creationId="{BD4F3E6D-D255-44A0-AA51-2E44FC16108B}"/>
          </ac:spMkLst>
        </pc:spChg>
        <pc:spChg chg="add del mod">
          <ac:chgData name="Marc Feldkirchner" userId="c4135e70-53ec-4cd4-a1bd-4ca908459c8c" providerId="ADAL" clId="{7F9C2C8A-03C3-431A-BE04-83FBFEAB7D91}" dt="2022-03-10T22:51:39.138" v="1561"/>
          <ac:spMkLst>
            <pc:docMk/>
            <pc:sldMk cId="2311678989" sldId="388"/>
            <ac:spMk id="15" creationId="{EA996ADB-36D4-42C5-AE9E-B0AFCB583AF8}"/>
          </ac:spMkLst>
        </pc:spChg>
        <pc:spChg chg="add del mod">
          <ac:chgData name="Marc Feldkirchner" userId="c4135e70-53ec-4cd4-a1bd-4ca908459c8c" providerId="ADAL" clId="{7F9C2C8A-03C3-431A-BE04-83FBFEAB7D91}" dt="2022-03-10T22:51:39.138" v="1561"/>
          <ac:spMkLst>
            <pc:docMk/>
            <pc:sldMk cId="2311678989" sldId="388"/>
            <ac:spMk id="16" creationId="{2B86E561-E07D-4940-921E-AE4B1292A696}"/>
          </ac:spMkLst>
        </pc:spChg>
        <pc:spChg chg="add del mod">
          <ac:chgData name="Marc Feldkirchner" userId="c4135e70-53ec-4cd4-a1bd-4ca908459c8c" providerId="ADAL" clId="{7F9C2C8A-03C3-431A-BE04-83FBFEAB7D91}" dt="2022-03-10T22:51:39.138" v="1561"/>
          <ac:spMkLst>
            <pc:docMk/>
            <pc:sldMk cId="2311678989" sldId="388"/>
            <ac:spMk id="17" creationId="{86D4AAB0-5B26-440E-8316-A8D7BE3EE7C8}"/>
          </ac:spMkLst>
        </pc:spChg>
        <pc:spChg chg="add del mod">
          <ac:chgData name="Marc Feldkirchner" userId="c4135e70-53ec-4cd4-a1bd-4ca908459c8c" providerId="ADAL" clId="{7F9C2C8A-03C3-431A-BE04-83FBFEAB7D91}" dt="2022-03-10T22:51:44.059" v="1563"/>
          <ac:spMkLst>
            <pc:docMk/>
            <pc:sldMk cId="2311678989" sldId="388"/>
            <ac:spMk id="18" creationId="{3023E1A9-A32E-431C-A17F-D03BD51B2056}"/>
          </ac:spMkLst>
        </pc:spChg>
        <pc:spChg chg="add del mod">
          <ac:chgData name="Marc Feldkirchner" userId="c4135e70-53ec-4cd4-a1bd-4ca908459c8c" providerId="ADAL" clId="{7F9C2C8A-03C3-431A-BE04-83FBFEAB7D91}" dt="2022-03-10T22:51:44.059" v="1563"/>
          <ac:spMkLst>
            <pc:docMk/>
            <pc:sldMk cId="2311678989" sldId="388"/>
            <ac:spMk id="19" creationId="{85635916-CC76-4131-80BE-6013A9F7014B}"/>
          </ac:spMkLst>
        </pc:spChg>
        <pc:spChg chg="add del mod">
          <ac:chgData name="Marc Feldkirchner" userId="c4135e70-53ec-4cd4-a1bd-4ca908459c8c" providerId="ADAL" clId="{7F9C2C8A-03C3-431A-BE04-83FBFEAB7D91}" dt="2022-03-10T22:51:44.059" v="1563"/>
          <ac:spMkLst>
            <pc:docMk/>
            <pc:sldMk cId="2311678989" sldId="388"/>
            <ac:spMk id="20" creationId="{6D9AEE05-6C10-47A8-8F35-DBBF01701FA5}"/>
          </ac:spMkLst>
        </pc:spChg>
        <pc:spChg chg="add del mod">
          <ac:chgData name="Marc Feldkirchner" userId="c4135e70-53ec-4cd4-a1bd-4ca908459c8c" providerId="ADAL" clId="{7F9C2C8A-03C3-431A-BE04-83FBFEAB7D91}" dt="2022-03-10T22:51:44.059" v="1563"/>
          <ac:spMkLst>
            <pc:docMk/>
            <pc:sldMk cId="2311678989" sldId="388"/>
            <ac:spMk id="21" creationId="{535454DB-7876-4BFF-A6D2-892FF7676D89}"/>
          </ac:spMkLst>
        </pc:spChg>
        <pc:spChg chg="add del mod">
          <ac:chgData name="Marc Feldkirchner" userId="c4135e70-53ec-4cd4-a1bd-4ca908459c8c" providerId="ADAL" clId="{7F9C2C8A-03C3-431A-BE04-83FBFEAB7D91}" dt="2022-03-10T22:51:44.059" v="1563"/>
          <ac:spMkLst>
            <pc:docMk/>
            <pc:sldMk cId="2311678989" sldId="388"/>
            <ac:spMk id="22" creationId="{73EF9436-5442-4473-874F-46F4F785BA86}"/>
          </ac:spMkLst>
        </pc:spChg>
        <pc:spChg chg="add del mod">
          <ac:chgData name="Marc Feldkirchner" userId="c4135e70-53ec-4cd4-a1bd-4ca908459c8c" providerId="ADAL" clId="{7F9C2C8A-03C3-431A-BE04-83FBFEAB7D91}" dt="2022-03-10T22:51:44.059" v="1563"/>
          <ac:spMkLst>
            <pc:docMk/>
            <pc:sldMk cId="2311678989" sldId="388"/>
            <ac:spMk id="23" creationId="{5AD4DE68-66C5-4124-8D5D-186084CB4BC6}"/>
          </ac:spMkLst>
        </pc:spChg>
        <pc:spChg chg="add del mod">
          <ac:chgData name="Marc Feldkirchner" userId="c4135e70-53ec-4cd4-a1bd-4ca908459c8c" providerId="ADAL" clId="{7F9C2C8A-03C3-431A-BE04-83FBFEAB7D91}" dt="2022-03-10T22:51:44.059" v="1563"/>
          <ac:spMkLst>
            <pc:docMk/>
            <pc:sldMk cId="2311678989" sldId="388"/>
            <ac:spMk id="24" creationId="{F7D69AA4-1B0B-4F26-886C-E8AFAC96192D}"/>
          </ac:spMkLst>
        </pc:spChg>
        <pc:spChg chg="add del mod">
          <ac:chgData name="Marc Feldkirchner" userId="c4135e70-53ec-4cd4-a1bd-4ca908459c8c" providerId="ADAL" clId="{7F9C2C8A-03C3-431A-BE04-83FBFEAB7D91}" dt="2022-03-10T22:51:44.059" v="1563"/>
          <ac:spMkLst>
            <pc:docMk/>
            <pc:sldMk cId="2311678989" sldId="388"/>
            <ac:spMk id="25" creationId="{604A6488-F06A-4275-9820-5A81642BE3F7}"/>
          </ac:spMkLst>
        </pc:spChg>
        <pc:spChg chg="add del mod">
          <ac:chgData name="Marc Feldkirchner" userId="c4135e70-53ec-4cd4-a1bd-4ca908459c8c" providerId="ADAL" clId="{7F9C2C8A-03C3-431A-BE04-83FBFEAB7D91}" dt="2022-03-10T22:51:44.059" v="1563"/>
          <ac:spMkLst>
            <pc:docMk/>
            <pc:sldMk cId="2311678989" sldId="388"/>
            <ac:spMk id="26" creationId="{EAF285EB-795A-4E2D-B026-0068E6687004}"/>
          </ac:spMkLst>
        </pc:spChg>
        <pc:spChg chg="add del mod">
          <ac:chgData name="Marc Feldkirchner" userId="c4135e70-53ec-4cd4-a1bd-4ca908459c8c" providerId="ADAL" clId="{7F9C2C8A-03C3-431A-BE04-83FBFEAB7D91}" dt="2022-03-10T22:51:44.059" v="1563"/>
          <ac:spMkLst>
            <pc:docMk/>
            <pc:sldMk cId="2311678989" sldId="388"/>
            <ac:spMk id="27" creationId="{83FC65EC-2337-4FBD-81E2-1019C5365212}"/>
          </ac:spMkLst>
        </pc:spChg>
        <pc:spChg chg="add del mod">
          <ac:chgData name="Marc Feldkirchner" userId="c4135e70-53ec-4cd4-a1bd-4ca908459c8c" providerId="ADAL" clId="{7F9C2C8A-03C3-431A-BE04-83FBFEAB7D91}" dt="2022-03-10T22:51:44.059" v="1563"/>
          <ac:spMkLst>
            <pc:docMk/>
            <pc:sldMk cId="2311678989" sldId="388"/>
            <ac:spMk id="28" creationId="{8B969B8F-86D9-45A8-AE95-DFE3EBE6A08F}"/>
          </ac:spMkLst>
        </pc:spChg>
        <pc:spChg chg="add del mod">
          <ac:chgData name="Marc Feldkirchner" userId="c4135e70-53ec-4cd4-a1bd-4ca908459c8c" providerId="ADAL" clId="{7F9C2C8A-03C3-431A-BE04-83FBFEAB7D91}" dt="2022-03-10T22:51:44.059" v="1563"/>
          <ac:spMkLst>
            <pc:docMk/>
            <pc:sldMk cId="2311678989" sldId="388"/>
            <ac:spMk id="29" creationId="{83290ECB-AE00-4B22-B1A8-C573C395FFB1}"/>
          </ac:spMkLst>
        </pc:spChg>
        <pc:spChg chg="add mod">
          <ac:chgData name="Marc Feldkirchner" userId="c4135e70-53ec-4cd4-a1bd-4ca908459c8c" providerId="ADAL" clId="{7F9C2C8A-03C3-431A-BE04-83FBFEAB7D91}" dt="2022-03-22T16:36:57.699" v="1927" actId="207"/>
          <ac:spMkLst>
            <pc:docMk/>
            <pc:sldMk cId="2311678989" sldId="388"/>
            <ac:spMk id="30" creationId="{BE3297E5-AE0E-42B4-8159-FA1534F72B9C}"/>
          </ac:spMkLst>
        </pc:spChg>
        <pc:spChg chg="add mod">
          <ac:chgData name="Marc Feldkirchner" userId="c4135e70-53ec-4cd4-a1bd-4ca908459c8c" providerId="ADAL" clId="{7F9C2C8A-03C3-431A-BE04-83FBFEAB7D91}" dt="2022-03-22T16:36:57.699" v="1927" actId="207"/>
          <ac:spMkLst>
            <pc:docMk/>
            <pc:sldMk cId="2311678989" sldId="388"/>
            <ac:spMk id="31" creationId="{6EDC7698-EF64-489C-9929-7C58FAA23627}"/>
          </ac:spMkLst>
        </pc:spChg>
        <pc:spChg chg="add mod">
          <ac:chgData name="Marc Feldkirchner" userId="c4135e70-53ec-4cd4-a1bd-4ca908459c8c" providerId="ADAL" clId="{7F9C2C8A-03C3-431A-BE04-83FBFEAB7D91}" dt="2022-03-22T16:36:57.699" v="1927" actId="207"/>
          <ac:spMkLst>
            <pc:docMk/>
            <pc:sldMk cId="2311678989" sldId="388"/>
            <ac:spMk id="32" creationId="{1F35781B-338E-4341-A360-B21420B7C252}"/>
          </ac:spMkLst>
        </pc:spChg>
        <pc:spChg chg="add mod">
          <ac:chgData name="Marc Feldkirchner" userId="c4135e70-53ec-4cd4-a1bd-4ca908459c8c" providerId="ADAL" clId="{7F9C2C8A-03C3-431A-BE04-83FBFEAB7D91}" dt="2022-03-22T16:36:57.699" v="1927" actId="207"/>
          <ac:spMkLst>
            <pc:docMk/>
            <pc:sldMk cId="2311678989" sldId="388"/>
            <ac:spMk id="33" creationId="{CCEBC2A1-65FD-4428-8C64-AC5B5D764F8E}"/>
          </ac:spMkLst>
        </pc:spChg>
        <pc:spChg chg="add mod">
          <ac:chgData name="Marc Feldkirchner" userId="c4135e70-53ec-4cd4-a1bd-4ca908459c8c" providerId="ADAL" clId="{7F9C2C8A-03C3-431A-BE04-83FBFEAB7D91}" dt="2022-03-10T22:51:44.069" v="1564"/>
          <ac:spMkLst>
            <pc:docMk/>
            <pc:sldMk cId="2311678989" sldId="388"/>
            <ac:spMk id="34" creationId="{5831B50F-397D-43E8-A633-79349A991C0D}"/>
          </ac:spMkLst>
        </pc:spChg>
        <pc:spChg chg="add mod">
          <ac:chgData name="Marc Feldkirchner" userId="c4135e70-53ec-4cd4-a1bd-4ca908459c8c" providerId="ADAL" clId="{7F9C2C8A-03C3-431A-BE04-83FBFEAB7D91}" dt="2022-03-10T22:51:44.069" v="1564"/>
          <ac:spMkLst>
            <pc:docMk/>
            <pc:sldMk cId="2311678989" sldId="388"/>
            <ac:spMk id="35" creationId="{30DEEC99-03B7-4009-AE1A-2C6D21EED21A}"/>
          </ac:spMkLst>
        </pc:spChg>
        <pc:spChg chg="add mod">
          <ac:chgData name="Marc Feldkirchner" userId="c4135e70-53ec-4cd4-a1bd-4ca908459c8c" providerId="ADAL" clId="{7F9C2C8A-03C3-431A-BE04-83FBFEAB7D91}" dt="2022-03-10T22:51:44.069" v="1564"/>
          <ac:spMkLst>
            <pc:docMk/>
            <pc:sldMk cId="2311678989" sldId="388"/>
            <ac:spMk id="36" creationId="{6E098A6E-CCF5-4C37-805E-D22AA34926FA}"/>
          </ac:spMkLst>
        </pc:spChg>
        <pc:spChg chg="add mod">
          <ac:chgData name="Marc Feldkirchner" userId="c4135e70-53ec-4cd4-a1bd-4ca908459c8c" providerId="ADAL" clId="{7F9C2C8A-03C3-431A-BE04-83FBFEAB7D91}" dt="2022-03-10T22:55:11.729" v="1658" actId="20577"/>
          <ac:spMkLst>
            <pc:docMk/>
            <pc:sldMk cId="2311678989" sldId="388"/>
            <ac:spMk id="37" creationId="{963C344B-C031-4E50-94A9-F7A42CAE6738}"/>
          </ac:spMkLst>
        </pc:spChg>
        <pc:spChg chg="add mod">
          <ac:chgData name="Marc Feldkirchner" userId="c4135e70-53ec-4cd4-a1bd-4ca908459c8c" providerId="ADAL" clId="{7F9C2C8A-03C3-431A-BE04-83FBFEAB7D91}" dt="2022-03-10T22:55:03.508" v="1655" actId="20577"/>
          <ac:spMkLst>
            <pc:docMk/>
            <pc:sldMk cId="2311678989" sldId="388"/>
            <ac:spMk id="38" creationId="{9F443E4A-7AFD-4BDD-84DC-E180F11EE923}"/>
          </ac:spMkLst>
        </pc:spChg>
        <pc:spChg chg="add mod">
          <ac:chgData name="Marc Feldkirchner" userId="c4135e70-53ec-4cd4-a1bd-4ca908459c8c" providerId="ADAL" clId="{7F9C2C8A-03C3-431A-BE04-83FBFEAB7D91}" dt="2022-03-10T22:55:18.672" v="1662" actId="20577"/>
          <ac:spMkLst>
            <pc:docMk/>
            <pc:sldMk cId="2311678989" sldId="388"/>
            <ac:spMk id="39" creationId="{D04F06B4-69A9-49FB-98AE-8B800DAFD9F2}"/>
          </ac:spMkLst>
        </pc:spChg>
        <pc:spChg chg="add mod">
          <ac:chgData name="Marc Feldkirchner" userId="c4135e70-53ec-4cd4-a1bd-4ca908459c8c" providerId="ADAL" clId="{7F9C2C8A-03C3-431A-BE04-83FBFEAB7D91}" dt="2022-03-10T22:55:22.708" v="1663"/>
          <ac:spMkLst>
            <pc:docMk/>
            <pc:sldMk cId="2311678989" sldId="388"/>
            <ac:spMk id="40" creationId="{330C4038-7BEE-428F-A40E-969513639BBC}"/>
          </ac:spMkLst>
        </pc:spChg>
        <pc:spChg chg="add mod">
          <ac:chgData name="Marc Feldkirchner" userId="c4135e70-53ec-4cd4-a1bd-4ca908459c8c" providerId="ADAL" clId="{7F9C2C8A-03C3-431A-BE04-83FBFEAB7D91}" dt="2022-03-10T23:02:59.369" v="1776" actId="20577"/>
          <ac:spMkLst>
            <pc:docMk/>
            <pc:sldMk cId="2311678989" sldId="388"/>
            <ac:spMk id="41" creationId="{F7ADCE4C-766F-4A61-A91B-3018C69D8BF2}"/>
          </ac:spMkLst>
        </pc:spChg>
        <pc:spChg chg="add del mod">
          <ac:chgData name="Marc Feldkirchner" userId="c4135e70-53ec-4cd4-a1bd-4ca908459c8c" providerId="ADAL" clId="{7F9C2C8A-03C3-431A-BE04-83FBFEAB7D91}" dt="2022-03-10T22:57:03.817" v="1709"/>
          <ac:spMkLst>
            <pc:docMk/>
            <pc:sldMk cId="2311678989" sldId="388"/>
            <ac:spMk id="42" creationId="{D227C4D8-6E84-4F7C-B7F9-C457FCD8613C}"/>
          </ac:spMkLst>
        </pc:spChg>
        <pc:spChg chg="add mod">
          <ac:chgData name="Marc Feldkirchner" userId="c4135e70-53ec-4cd4-a1bd-4ca908459c8c" providerId="ADAL" clId="{7F9C2C8A-03C3-431A-BE04-83FBFEAB7D91}" dt="2022-03-10T23:01:02.831" v="1737" actId="1582"/>
          <ac:spMkLst>
            <pc:docMk/>
            <pc:sldMk cId="2311678989" sldId="388"/>
            <ac:spMk id="43" creationId="{0964E5CB-23B0-4EA3-828F-4D44A740A7C0}"/>
          </ac:spMkLst>
        </pc:spChg>
        <pc:spChg chg="add mod">
          <ac:chgData name="Marc Feldkirchner" userId="c4135e70-53ec-4cd4-a1bd-4ca908459c8c" providerId="ADAL" clId="{7F9C2C8A-03C3-431A-BE04-83FBFEAB7D91}" dt="2022-03-10T23:00:58.044" v="1736" actId="1582"/>
          <ac:spMkLst>
            <pc:docMk/>
            <pc:sldMk cId="2311678989" sldId="388"/>
            <ac:spMk id="44" creationId="{A20BEBB2-E733-437E-A5B0-090FCC1751E9}"/>
          </ac:spMkLst>
        </pc:spChg>
        <pc:spChg chg="add mod">
          <ac:chgData name="Marc Feldkirchner" userId="c4135e70-53ec-4cd4-a1bd-4ca908459c8c" providerId="ADAL" clId="{7F9C2C8A-03C3-431A-BE04-83FBFEAB7D91}" dt="2022-03-10T23:02:00.244" v="1747" actId="20577"/>
          <ac:spMkLst>
            <pc:docMk/>
            <pc:sldMk cId="2311678989" sldId="388"/>
            <ac:spMk id="45" creationId="{5DF7CF15-AFE7-44BB-97E1-20A8EEEDC17B}"/>
          </ac:spMkLst>
        </pc:spChg>
        <pc:spChg chg="add mod">
          <ac:chgData name="Marc Feldkirchner" userId="c4135e70-53ec-4cd4-a1bd-4ca908459c8c" providerId="ADAL" clId="{7F9C2C8A-03C3-431A-BE04-83FBFEAB7D91}" dt="2022-03-10T23:02:04.552" v="1751" actId="20577"/>
          <ac:spMkLst>
            <pc:docMk/>
            <pc:sldMk cId="2311678989" sldId="388"/>
            <ac:spMk id="46" creationId="{F8B3645E-9EE0-49C3-9E43-F37CBD04A71F}"/>
          </ac:spMkLst>
        </pc:spChg>
      </pc:sldChg>
      <pc:sldChg chg="addSp delSp modSp new mod">
        <pc:chgData name="Marc Feldkirchner" userId="c4135e70-53ec-4cd4-a1bd-4ca908459c8c" providerId="ADAL" clId="{7F9C2C8A-03C3-431A-BE04-83FBFEAB7D91}" dt="2022-03-22T16:37:07.363" v="1928" actId="207"/>
        <pc:sldMkLst>
          <pc:docMk/>
          <pc:sldMk cId="1686671835" sldId="389"/>
        </pc:sldMkLst>
        <pc:spChg chg="del">
          <ac:chgData name="Marc Feldkirchner" userId="c4135e70-53ec-4cd4-a1bd-4ca908459c8c" providerId="ADAL" clId="{7F9C2C8A-03C3-431A-BE04-83FBFEAB7D91}" dt="2022-03-10T23:03:34.611" v="1778" actId="478"/>
          <ac:spMkLst>
            <pc:docMk/>
            <pc:sldMk cId="1686671835" sldId="389"/>
            <ac:spMk id="5" creationId="{45916DC5-EFC3-4C2A-A3C5-150C2E3E056B}"/>
          </ac:spMkLst>
        </pc:spChg>
        <pc:spChg chg="add del mod">
          <ac:chgData name="Marc Feldkirchner" userId="c4135e70-53ec-4cd4-a1bd-4ca908459c8c" providerId="ADAL" clId="{7F9C2C8A-03C3-431A-BE04-83FBFEAB7D91}" dt="2022-03-10T23:11:33.323" v="1817" actId="478"/>
          <ac:spMkLst>
            <pc:docMk/>
            <pc:sldMk cId="1686671835" sldId="389"/>
            <ac:spMk id="6" creationId="{A50863EF-482A-4EB4-86AE-0390AB9E4162}"/>
          </ac:spMkLst>
        </pc:spChg>
        <pc:spChg chg="add del mod">
          <ac:chgData name="Marc Feldkirchner" userId="c4135e70-53ec-4cd4-a1bd-4ca908459c8c" providerId="ADAL" clId="{7F9C2C8A-03C3-431A-BE04-83FBFEAB7D91}" dt="2022-03-10T23:11:33.323" v="1817" actId="478"/>
          <ac:spMkLst>
            <pc:docMk/>
            <pc:sldMk cId="1686671835" sldId="389"/>
            <ac:spMk id="7" creationId="{4D355E39-4260-4E2A-BB75-F2B80B64B600}"/>
          </ac:spMkLst>
        </pc:spChg>
        <pc:spChg chg="add del mod">
          <ac:chgData name="Marc Feldkirchner" userId="c4135e70-53ec-4cd4-a1bd-4ca908459c8c" providerId="ADAL" clId="{7F9C2C8A-03C3-431A-BE04-83FBFEAB7D91}" dt="2022-03-10T23:11:33.323" v="1817" actId="478"/>
          <ac:spMkLst>
            <pc:docMk/>
            <pc:sldMk cId="1686671835" sldId="389"/>
            <ac:spMk id="8" creationId="{D0D76F08-C981-4E9F-9F8A-CE02CA1A3382}"/>
          </ac:spMkLst>
        </pc:spChg>
        <pc:spChg chg="add del mod">
          <ac:chgData name="Marc Feldkirchner" userId="c4135e70-53ec-4cd4-a1bd-4ca908459c8c" providerId="ADAL" clId="{7F9C2C8A-03C3-431A-BE04-83FBFEAB7D91}" dt="2022-03-10T23:11:33.323" v="1817" actId="478"/>
          <ac:spMkLst>
            <pc:docMk/>
            <pc:sldMk cId="1686671835" sldId="389"/>
            <ac:spMk id="9" creationId="{D9A0569B-BEDC-48C5-B787-1CB93444FC1B}"/>
          </ac:spMkLst>
        </pc:spChg>
        <pc:spChg chg="add del mod">
          <ac:chgData name="Marc Feldkirchner" userId="c4135e70-53ec-4cd4-a1bd-4ca908459c8c" providerId="ADAL" clId="{7F9C2C8A-03C3-431A-BE04-83FBFEAB7D91}" dt="2022-03-10T23:11:33.323" v="1817" actId="478"/>
          <ac:spMkLst>
            <pc:docMk/>
            <pc:sldMk cId="1686671835" sldId="389"/>
            <ac:spMk id="10" creationId="{6BDF7228-1CE8-4681-A4BC-2AEB94D8EB80}"/>
          </ac:spMkLst>
        </pc:spChg>
        <pc:spChg chg="add del mod">
          <ac:chgData name="Marc Feldkirchner" userId="c4135e70-53ec-4cd4-a1bd-4ca908459c8c" providerId="ADAL" clId="{7F9C2C8A-03C3-431A-BE04-83FBFEAB7D91}" dt="2022-03-10T23:07:14.923" v="1800" actId="478"/>
          <ac:spMkLst>
            <pc:docMk/>
            <pc:sldMk cId="1686671835" sldId="389"/>
            <ac:spMk id="11" creationId="{8DA50315-0150-4B12-8178-CEDE1C4A3842}"/>
          </ac:spMkLst>
        </pc:spChg>
        <pc:spChg chg="add del mod">
          <ac:chgData name="Marc Feldkirchner" userId="c4135e70-53ec-4cd4-a1bd-4ca908459c8c" providerId="ADAL" clId="{7F9C2C8A-03C3-431A-BE04-83FBFEAB7D91}" dt="2022-03-10T23:11:33.323" v="1817" actId="478"/>
          <ac:spMkLst>
            <pc:docMk/>
            <pc:sldMk cId="1686671835" sldId="389"/>
            <ac:spMk id="12" creationId="{4C424BB6-01AC-4141-A3E3-D7EDEED2C88E}"/>
          </ac:spMkLst>
        </pc:spChg>
        <pc:spChg chg="add del mod">
          <ac:chgData name="Marc Feldkirchner" userId="c4135e70-53ec-4cd4-a1bd-4ca908459c8c" providerId="ADAL" clId="{7F9C2C8A-03C3-431A-BE04-83FBFEAB7D91}" dt="2022-03-10T23:11:33.323" v="1817" actId="478"/>
          <ac:spMkLst>
            <pc:docMk/>
            <pc:sldMk cId="1686671835" sldId="389"/>
            <ac:spMk id="13" creationId="{12D53166-B630-4FC3-80B8-4A00E58DC3E0}"/>
          </ac:spMkLst>
        </pc:spChg>
        <pc:spChg chg="add mod">
          <ac:chgData name="Marc Feldkirchner" userId="c4135e70-53ec-4cd4-a1bd-4ca908459c8c" providerId="ADAL" clId="{7F9C2C8A-03C3-431A-BE04-83FBFEAB7D91}" dt="2022-03-22T16:37:07.363" v="1928" actId="207"/>
          <ac:spMkLst>
            <pc:docMk/>
            <pc:sldMk cId="1686671835" sldId="389"/>
            <ac:spMk id="14" creationId="{7C6400BC-7F08-4F74-8319-B48FDA55F922}"/>
          </ac:spMkLst>
        </pc:spChg>
        <pc:spChg chg="add mod">
          <ac:chgData name="Marc Feldkirchner" userId="c4135e70-53ec-4cd4-a1bd-4ca908459c8c" providerId="ADAL" clId="{7F9C2C8A-03C3-431A-BE04-83FBFEAB7D91}" dt="2022-03-10T23:11:50.063" v="1818"/>
          <ac:spMkLst>
            <pc:docMk/>
            <pc:sldMk cId="1686671835" sldId="389"/>
            <ac:spMk id="15" creationId="{A89F10CF-9FC3-4A02-8180-635B2E8B4DA3}"/>
          </ac:spMkLst>
        </pc:spChg>
        <pc:spChg chg="add mod">
          <ac:chgData name="Marc Feldkirchner" userId="c4135e70-53ec-4cd4-a1bd-4ca908459c8c" providerId="ADAL" clId="{7F9C2C8A-03C3-431A-BE04-83FBFEAB7D91}" dt="2022-03-10T23:11:50.063" v="1818"/>
          <ac:spMkLst>
            <pc:docMk/>
            <pc:sldMk cId="1686671835" sldId="389"/>
            <ac:spMk id="16" creationId="{E5E9D55A-0FF6-4CDA-8EB0-80E5EFF77451}"/>
          </ac:spMkLst>
        </pc:spChg>
        <pc:spChg chg="add mod">
          <ac:chgData name="Marc Feldkirchner" userId="c4135e70-53ec-4cd4-a1bd-4ca908459c8c" providerId="ADAL" clId="{7F9C2C8A-03C3-431A-BE04-83FBFEAB7D91}" dt="2022-03-10T23:11:50.063" v="1818"/>
          <ac:spMkLst>
            <pc:docMk/>
            <pc:sldMk cId="1686671835" sldId="389"/>
            <ac:spMk id="17" creationId="{E73D23E6-4D75-46E2-90B8-3CA45214828A}"/>
          </ac:spMkLst>
        </pc:spChg>
        <pc:spChg chg="add mod">
          <ac:chgData name="Marc Feldkirchner" userId="c4135e70-53ec-4cd4-a1bd-4ca908459c8c" providerId="ADAL" clId="{7F9C2C8A-03C3-431A-BE04-83FBFEAB7D91}" dt="2022-03-10T23:11:50.063" v="1818"/>
          <ac:spMkLst>
            <pc:docMk/>
            <pc:sldMk cId="1686671835" sldId="389"/>
            <ac:spMk id="18" creationId="{30B1B273-A32E-4C3F-9366-90E5A074B94B}"/>
          </ac:spMkLst>
        </pc:spChg>
        <pc:spChg chg="add mod">
          <ac:chgData name="Marc Feldkirchner" userId="c4135e70-53ec-4cd4-a1bd-4ca908459c8c" providerId="ADAL" clId="{7F9C2C8A-03C3-431A-BE04-83FBFEAB7D91}" dt="2022-03-10T23:11:50.063" v="1818"/>
          <ac:spMkLst>
            <pc:docMk/>
            <pc:sldMk cId="1686671835" sldId="389"/>
            <ac:spMk id="19" creationId="{BC062910-7863-4F68-B8D5-559D342FD067}"/>
          </ac:spMkLst>
        </pc:spChg>
        <pc:spChg chg="add mod">
          <ac:chgData name="Marc Feldkirchner" userId="c4135e70-53ec-4cd4-a1bd-4ca908459c8c" providerId="ADAL" clId="{7F9C2C8A-03C3-431A-BE04-83FBFEAB7D91}" dt="2022-03-10T23:11:50.063" v="1818"/>
          <ac:spMkLst>
            <pc:docMk/>
            <pc:sldMk cId="1686671835" sldId="389"/>
            <ac:spMk id="20" creationId="{0981766C-C4B7-44D4-8342-E9045C4289CF}"/>
          </ac:spMkLst>
        </pc:spChg>
        <pc:spChg chg="add mod">
          <ac:chgData name="Marc Feldkirchner" userId="c4135e70-53ec-4cd4-a1bd-4ca908459c8c" providerId="ADAL" clId="{7F9C2C8A-03C3-431A-BE04-83FBFEAB7D91}" dt="2022-03-22T16:37:07.363" v="1928" actId="207"/>
          <ac:spMkLst>
            <pc:docMk/>
            <pc:sldMk cId="1686671835" sldId="389"/>
            <ac:spMk id="21" creationId="{39107F13-30D7-413B-87E8-DE5D97AFD3B0}"/>
          </ac:spMkLst>
        </pc:spChg>
        <pc:spChg chg="add mod">
          <ac:chgData name="Marc Feldkirchner" userId="c4135e70-53ec-4cd4-a1bd-4ca908459c8c" providerId="ADAL" clId="{7F9C2C8A-03C3-431A-BE04-83FBFEAB7D91}" dt="2022-03-22T16:37:07.363" v="1928" actId="207"/>
          <ac:spMkLst>
            <pc:docMk/>
            <pc:sldMk cId="1686671835" sldId="389"/>
            <ac:spMk id="22" creationId="{0D1C4E47-AE40-49A8-928F-B74C1741E81F}"/>
          </ac:spMkLst>
        </pc:spChg>
        <pc:spChg chg="add mod">
          <ac:chgData name="Marc Feldkirchner" userId="c4135e70-53ec-4cd4-a1bd-4ca908459c8c" providerId="ADAL" clId="{7F9C2C8A-03C3-431A-BE04-83FBFEAB7D91}" dt="2022-03-22T16:37:07.363" v="1928" actId="207"/>
          <ac:spMkLst>
            <pc:docMk/>
            <pc:sldMk cId="1686671835" sldId="389"/>
            <ac:spMk id="23" creationId="{F8DD51B0-8779-4C4F-9E7E-EC56DD0F6496}"/>
          </ac:spMkLst>
        </pc:spChg>
        <pc:spChg chg="add mod">
          <ac:chgData name="Marc Feldkirchner" userId="c4135e70-53ec-4cd4-a1bd-4ca908459c8c" providerId="ADAL" clId="{7F9C2C8A-03C3-431A-BE04-83FBFEAB7D91}" dt="2022-03-22T16:37:07.363" v="1928" actId="207"/>
          <ac:spMkLst>
            <pc:docMk/>
            <pc:sldMk cId="1686671835" sldId="389"/>
            <ac:spMk id="24" creationId="{B9A1CFB7-19C4-490E-8112-E4D541094EA9}"/>
          </ac:spMkLst>
        </pc:spChg>
        <pc:spChg chg="add mod">
          <ac:chgData name="Marc Feldkirchner" userId="c4135e70-53ec-4cd4-a1bd-4ca908459c8c" providerId="ADAL" clId="{7F9C2C8A-03C3-431A-BE04-83FBFEAB7D91}" dt="2022-03-10T23:11:50.063" v="1818"/>
          <ac:spMkLst>
            <pc:docMk/>
            <pc:sldMk cId="1686671835" sldId="389"/>
            <ac:spMk id="25" creationId="{07A56B59-2789-4C14-B438-3119F0B18523}"/>
          </ac:spMkLst>
        </pc:spChg>
        <pc:spChg chg="add mod">
          <ac:chgData name="Marc Feldkirchner" userId="c4135e70-53ec-4cd4-a1bd-4ca908459c8c" providerId="ADAL" clId="{7F9C2C8A-03C3-431A-BE04-83FBFEAB7D91}" dt="2022-03-10T23:12:00.588" v="1819"/>
          <ac:spMkLst>
            <pc:docMk/>
            <pc:sldMk cId="1686671835" sldId="389"/>
            <ac:spMk id="26" creationId="{04642A44-47EF-4068-8C44-E51348021107}"/>
          </ac:spMkLst>
        </pc:spChg>
      </pc:sldChg>
      <pc:sldChg chg="addSp delSp modSp new del mod">
        <pc:chgData name="Marc Feldkirchner" userId="c4135e70-53ec-4cd4-a1bd-4ca908459c8c" providerId="ADAL" clId="{7F9C2C8A-03C3-431A-BE04-83FBFEAB7D91}" dt="2022-03-10T23:21:32.167" v="1926" actId="47"/>
        <pc:sldMkLst>
          <pc:docMk/>
          <pc:sldMk cId="1234178274" sldId="390"/>
        </pc:sldMkLst>
        <pc:spChg chg="mod">
          <ac:chgData name="Marc Feldkirchner" userId="c4135e70-53ec-4cd4-a1bd-4ca908459c8c" providerId="ADAL" clId="{7F9C2C8A-03C3-431A-BE04-83FBFEAB7D91}" dt="2022-03-10T23:20:46.592" v="1925" actId="20577"/>
          <ac:spMkLst>
            <pc:docMk/>
            <pc:sldMk cId="1234178274" sldId="390"/>
            <ac:spMk id="4" creationId="{F4C005A1-7EF7-46AA-8DA1-54CF78E0483C}"/>
          </ac:spMkLst>
        </pc:spChg>
        <pc:spChg chg="del">
          <ac:chgData name="Marc Feldkirchner" userId="c4135e70-53ec-4cd4-a1bd-4ca908459c8c" providerId="ADAL" clId="{7F9C2C8A-03C3-431A-BE04-83FBFEAB7D91}" dt="2022-03-10T23:13:30.746" v="1822" actId="478"/>
          <ac:spMkLst>
            <pc:docMk/>
            <pc:sldMk cId="1234178274" sldId="390"/>
            <ac:spMk id="5" creationId="{55C5CEEB-75B3-40D4-8FA6-C86AA41223B7}"/>
          </ac:spMkLst>
        </pc:spChg>
        <pc:spChg chg="add mod ord">
          <ac:chgData name="Marc Feldkirchner" userId="c4135e70-53ec-4cd4-a1bd-4ca908459c8c" providerId="ADAL" clId="{7F9C2C8A-03C3-431A-BE04-83FBFEAB7D91}" dt="2022-03-10T23:19:50.219" v="1918" actId="166"/>
          <ac:spMkLst>
            <pc:docMk/>
            <pc:sldMk cId="1234178274" sldId="390"/>
            <ac:spMk id="6" creationId="{3FD8723F-A846-4B35-9E7F-900C563E6B85}"/>
          </ac:spMkLst>
        </pc:spChg>
        <pc:spChg chg="add mod">
          <ac:chgData name="Marc Feldkirchner" userId="c4135e70-53ec-4cd4-a1bd-4ca908459c8c" providerId="ADAL" clId="{7F9C2C8A-03C3-431A-BE04-83FBFEAB7D91}" dt="2022-03-10T23:18:59.383" v="1904" actId="14100"/>
          <ac:spMkLst>
            <pc:docMk/>
            <pc:sldMk cId="1234178274" sldId="390"/>
            <ac:spMk id="7" creationId="{6E97859D-5278-4E3A-8C75-61D6EAF0A567}"/>
          </ac:spMkLst>
        </pc:spChg>
        <pc:spChg chg="add del mod">
          <ac:chgData name="Marc Feldkirchner" userId="c4135e70-53ec-4cd4-a1bd-4ca908459c8c" providerId="ADAL" clId="{7F9C2C8A-03C3-431A-BE04-83FBFEAB7D91}" dt="2022-03-10T23:15:08.065" v="1860" actId="478"/>
          <ac:spMkLst>
            <pc:docMk/>
            <pc:sldMk cId="1234178274" sldId="390"/>
            <ac:spMk id="8" creationId="{1C210CF5-9A4B-49E4-AB81-EF219C774C4B}"/>
          </ac:spMkLst>
        </pc:spChg>
        <pc:spChg chg="add del mod">
          <ac:chgData name="Marc Feldkirchner" userId="c4135e70-53ec-4cd4-a1bd-4ca908459c8c" providerId="ADAL" clId="{7F9C2C8A-03C3-431A-BE04-83FBFEAB7D91}" dt="2022-03-10T23:15:02.486" v="1859" actId="478"/>
          <ac:spMkLst>
            <pc:docMk/>
            <pc:sldMk cId="1234178274" sldId="390"/>
            <ac:spMk id="9" creationId="{2CC53D6D-140F-421E-B077-41EF5FEFF795}"/>
          </ac:spMkLst>
        </pc:spChg>
        <pc:spChg chg="add del mod">
          <ac:chgData name="Marc Feldkirchner" userId="c4135e70-53ec-4cd4-a1bd-4ca908459c8c" providerId="ADAL" clId="{7F9C2C8A-03C3-431A-BE04-83FBFEAB7D91}" dt="2022-03-10T23:18:18.274" v="1885" actId="478"/>
          <ac:spMkLst>
            <pc:docMk/>
            <pc:sldMk cId="1234178274" sldId="390"/>
            <ac:spMk id="10" creationId="{B71D777D-0FFC-49DC-9F21-95D26E63C756}"/>
          </ac:spMkLst>
        </pc:spChg>
        <pc:spChg chg="add del mod">
          <ac:chgData name="Marc Feldkirchner" userId="c4135e70-53ec-4cd4-a1bd-4ca908459c8c" providerId="ADAL" clId="{7F9C2C8A-03C3-431A-BE04-83FBFEAB7D91}" dt="2022-03-10T23:15:27.615" v="1868"/>
          <ac:spMkLst>
            <pc:docMk/>
            <pc:sldMk cId="1234178274" sldId="390"/>
            <ac:spMk id="11" creationId="{483AC63B-C4C2-40C5-A6DA-74F3F2AD147E}"/>
          </ac:spMkLst>
        </pc:spChg>
        <pc:spChg chg="add del mod">
          <ac:chgData name="Marc Feldkirchner" userId="c4135e70-53ec-4cd4-a1bd-4ca908459c8c" providerId="ADAL" clId="{7F9C2C8A-03C3-431A-BE04-83FBFEAB7D91}" dt="2022-03-10T23:18:19.823" v="1886" actId="478"/>
          <ac:spMkLst>
            <pc:docMk/>
            <pc:sldMk cId="1234178274" sldId="390"/>
            <ac:spMk id="12" creationId="{AA32834A-374E-419C-A9E9-09282C3F7703}"/>
          </ac:spMkLst>
        </pc:spChg>
        <pc:spChg chg="add del mod">
          <ac:chgData name="Marc Feldkirchner" userId="c4135e70-53ec-4cd4-a1bd-4ca908459c8c" providerId="ADAL" clId="{7F9C2C8A-03C3-431A-BE04-83FBFEAB7D91}" dt="2022-03-10T23:18:20.424" v="1887" actId="478"/>
          <ac:spMkLst>
            <pc:docMk/>
            <pc:sldMk cId="1234178274" sldId="390"/>
            <ac:spMk id="13" creationId="{740A5D30-1A98-4AE3-9CB5-F32DB0930A35}"/>
          </ac:spMkLst>
        </pc:spChg>
        <pc:spChg chg="add mod">
          <ac:chgData name="Marc Feldkirchner" userId="c4135e70-53ec-4cd4-a1bd-4ca908459c8c" providerId="ADAL" clId="{7F9C2C8A-03C3-431A-BE04-83FBFEAB7D91}" dt="2022-03-10T23:20:26.870" v="1921" actId="2085"/>
          <ac:spMkLst>
            <pc:docMk/>
            <pc:sldMk cId="1234178274" sldId="390"/>
            <ac:spMk id="14" creationId="{C4AE7761-D890-412A-B5D3-AF6F861113A0}"/>
          </ac:spMkLst>
        </pc:spChg>
        <pc:spChg chg="add mod">
          <ac:chgData name="Marc Feldkirchner" userId="c4135e70-53ec-4cd4-a1bd-4ca908459c8c" providerId="ADAL" clId="{7F9C2C8A-03C3-431A-BE04-83FBFEAB7D91}" dt="2022-03-10T23:20:26.870" v="1921" actId="2085"/>
          <ac:spMkLst>
            <pc:docMk/>
            <pc:sldMk cId="1234178274" sldId="390"/>
            <ac:spMk id="15" creationId="{E5E91F03-D3D5-44E5-96CD-B8050B43185A}"/>
          </ac:spMkLst>
        </pc:spChg>
        <pc:spChg chg="add mod">
          <ac:chgData name="Marc Feldkirchner" userId="c4135e70-53ec-4cd4-a1bd-4ca908459c8c" providerId="ADAL" clId="{7F9C2C8A-03C3-431A-BE04-83FBFEAB7D91}" dt="2022-03-10T23:20:26.870" v="1921" actId="2085"/>
          <ac:spMkLst>
            <pc:docMk/>
            <pc:sldMk cId="1234178274" sldId="390"/>
            <ac:spMk id="16" creationId="{ED4CEF6E-355A-447E-BD1A-2322757E0812}"/>
          </ac:spMkLst>
        </pc:spChg>
      </pc:sldChg>
      <pc:sldChg chg="new del">
        <pc:chgData name="Marc Feldkirchner" userId="c4135e70-53ec-4cd4-a1bd-4ca908459c8c" providerId="ADAL" clId="{7F9C2C8A-03C3-431A-BE04-83FBFEAB7D91}" dt="2022-03-22T16:40:13.439" v="1932" actId="47"/>
        <pc:sldMkLst>
          <pc:docMk/>
          <pc:sldMk cId="2304590944" sldId="390"/>
        </pc:sldMkLst>
      </pc:sldChg>
      <pc:sldChg chg="add">
        <pc:chgData name="Marc Feldkirchner" userId="c4135e70-53ec-4cd4-a1bd-4ca908459c8c" providerId="ADAL" clId="{7F9C2C8A-03C3-431A-BE04-83FBFEAB7D91}" dt="2022-03-22T16:37:26.282" v="1930"/>
        <pc:sldMkLst>
          <pc:docMk/>
          <pc:sldMk cId="590577401" sldId="391"/>
        </pc:sldMkLst>
      </pc:sldChg>
      <pc:sldChg chg="add">
        <pc:chgData name="Marc Feldkirchner" userId="c4135e70-53ec-4cd4-a1bd-4ca908459c8c" providerId="ADAL" clId="{7F9C2C8A-03C3-431A-BE04-83FBFEAB7D91}" dt="2022-03-22T16:40:06.620" v="1931"/>
        <pc:sldMkLst>
          <pc:docMk/>
          <pc:sldMk cId="2824741347" sldId="422"/>
        </pc:sldMkLst>
      </pc:sldChg>
      <pc:sldChg chg="add">
        <pc:chgData name="Marc Feldkirchner" userId="c4135e70-53ec-4cd4-a1bd-4ca908459c8c" providerId="ADAL" clId="{7F9C2C8A-03C3-431A-BE04-83FBFEAB7D91}" dt="2022-03-22T16:40:06.620" v="1931"/>
        <pc:sldMkLst>
          <pc:docMk/>
          <pc:sldMk cId="737801744" sldId="424"/>
        </pc:sldMkLst>
      </pc:sldChg>
    </pc:docChg>
  </pc:docChgLst>
  <pc:docChgLst>
    <pc:chgData name="Marc Feldkirchner" userId="c4135e70-53ec-4cd4-a1bd-4ca908459c8c" providerId="ADAL" clId="{13982556-6D2C-4CE3-8E38-9974EF6CBC97}"/>
    <pc:docChg chg="custSel modSld">
      <pc:chgData name="Marc Feldkirchner" userId="c4135e70-53ec-4cd4-a1bd-4ca908459c8c" providerId="ADAL" clId="{13982556-6D2C-4CE3-8E38-9974EF6CBC97}" dt="2021-11-22T17:34:59.398" v="6" actId="478"/>
      <pc:docMkLst>
        <pc:docMk/>
      </pc:docMkLst>
      <pc:sldChg chg="addSp delSp modSp mod">
        <pc:chgData name="Marc Feldkirchner" userId="c4135e70-53ec-4cd4-a1bd-4ca908459c8c" providerId="ADAL" clId="{13982556-6D2C-4CE3-8E38-9974EF6CBC97}" dt="2021-11-22T17:34:59.398" v="6" actId="478"/>
        <pc:sldMkLst>
          <pc:docMk/>
          <pc:sldMk cId="1758373318" sldId="373"/>
        </pc:sldMkLst>
        <pc:spChg chg="add del mod">
          <ac:chgData name="Marc Feldkirchner" userId="c4135e70-53ec-4cd4-a1bd-4ca908459c8c" providerId="ADAL" clId="{13982556-6D2C-4CE3-8E38-9974EF6CBC97}" dt="2021-11-22T17:34:59.398" v="6" actId="478"/>
          <ac:spMkLst>
            <pc:docMk/>
            <pc:sldMk cId="1758373318" sldId="373"/>
            <ac:spMk id="2" creationId="{1A0E5516-4350-449F-8F1B-8BD66ADC7CE0}"/>
          </ac:spMkLst>
        </pc:spChg>
      </pc:sldChg>
    </pc:docChg>
  </pc:docChgLst>
  <pc:docChgLst>
    <pc:chgData name="Marc Feldkirchner" userId="c4135e70-53ec-4cd4-a1bd-4ca908459c8c" providerId="ADAL" clId="{16CCBD85-F179-4CAE-94FA-02D29450FF29}"/>
    <pc:docChg chg="undo redo custSel addSld delSld modSld modMainMaster modSection">
      <pc:chgData name="Marc Feldkirchner" userId="c4135e70-53ec-4cd4-a1bd-4ca908459c8c" providerId="ADAL" clId="{16CCBD85-F179-4CAE-94FA-02D29450FF29}" dt="2021-11-25T17:00:18.264" v="825" actId="47"/>
      <pc:docMkLst>
        <pc:docMk/>
      </pc:docMkLst>
      <pc:sldChg chg="modSp mod">
        <pc:chgData name="Marc Feldkirchner" userId="c4135e70-53ec-4cd4-a1bd-4ca908459c8c" providerId="ADAL" clId="{16CCBD85-F179-4CAE-94FA-02D29450FF29}" dt="2021-11-25T16:20:16.091" v="182" actId="20577"/>
        <pc:sldMkLst>
          <pc:docMk/>
          <pc:sldMk cId="947004393" sldId="336"/>
        </pc:sldMkLst>
        <pc:spChg chg="mod">
          <ac:chgData name="Marc Feldkirchner" userId="c4135e70-53ec-4cd4-a1bd-4ca908459c8c" providerId="ADAL" clId="{16CCBD85-F179-4CAE-94FA-02D29450FF29}" dt="2021-11-25T16:19:24.168" v="108" actId="20577"/>
          <ac:spMkLst>
            <pc:docMk/>
            <pc:sldMk cId="947004393" sldId="336"/>
            <ac:spMk id="13" creationId="{62B6EAAC-0294-4866-B44D-C1EFE7ACA4E5}"/>
          </ac:spMkLst>
        </pc:spChg>
        <pc:spChg chg="mod">
          <ac:chgData name="Marc Feldkirchner" userId="c4135e70-53ec-4cd4-a1bd-4ca908459c8c" providerId="ADAL" clId="{16CCBD85-F179-4CAE-94FA-02D29450FF29}" dt="2021-11-25T16:20:16.091" v="182" actId="20577"/>
          <ac:spMkLst>
            <pc:docMk/>
            <pc:sldMk cId="947004393" sldId="336"/>
            <ac:spMk id="14" creationId="{B07F6F48-85B6-4FFA-9856-27CF4F35ACE8}"/>
          </ac:spMkLst>
        </pc:spChg>
      </pc:sldChg>
      <pc:sldChg chg="addSp delSp modSp mod">
        <pc:chgData name="Marc Feldkirchner" userId="c4135e70-53ec-4cd4-a1bd-4ca908459c8c" providerId="ADAL" clId="{16CCBD85-F179-4CAE-94FA-02D29450FF29}" dt="2021-11-22T19:37:33.932" v="45" actId="478"/>
        <pc:sldMkLst>
          <pc:docMk/>
          <pc:sldMk cId="3038720959" sldId="339"/>
        </pc:sldMkLst>
        <pc:spChg chg="add del mod">
          <ac:chgData name="Marc Feldkirchner" userId="c4135e70-53ec-4cd4-a1bd-4ca908459c8c" providerId="ADAL" clId="{16CCBD85-F179-4CAE-94FA-02D29450FF29}" dt="2021-11-22T19:37:33.932" v="45" actId="478"/>
          <ac:spMkLst>
            <pc:docMk/>
            <pc:sldMk cId="3038720959" sldId="339"/>
            <ac:spMk id="5" creationId="{5D935855-B113-4D71-AAD5-959164DCCDE8}"/>
          </ac:spMkLst>
        </pc:spChg>
        <pc:spChg chg="add del mod ord">
          <ac:chgData name="Marc Feldkirchner" userId="c4135e70-53ec-4cd4-a1bd-4ca908459c8c" providerId="ADAL" clId="{16CCBD85-F179-4CAE-94FA-02D29450FF29}" dt="2021-11-22T19:37:32.869" v="43" actId="11529"/>
          <ac:spMkLst>
            <pc:docMk/>
            <pc:sldMk cId="3038720959" sldId="339"/>
            <ac:spMk id="6" creationId="{083EC10A-CC31-4FA6-B22E-5907C1B100B0}"/>
          </ac:spMkLst>
        </pc:spChg>
        <pc:spChg chg="add del mod">
          <ac:chgData name="Marc Feldkirchner" userId="c4135e70-53ec-4cd4-a1bd-4ca908459c8c" providerId="ADAL" clId="{16CCBD85-F179-4CAE-94FA-02D29450FF29}" dt="2021-11-22T19:37:30.633" v="37"/>
          <ac:spMkLst>
            <pc:docMk/>
            <pc:sldMk cId="3038720959" sldId="339"/>
            <ac:spMk id="10" creationId="{53EC3E6D-2AFD-4319-85C1-851E0F22B81F}"/>
          </ac:spMkLst>
        </pc:spChg>
        <pc:spChg chg="add del">
          <ac:chgData name="Marc Feldkirchner" userId="c4135e70-53ec-4cd4-a1bd-4ca908459c8c" providerId="ADAL" clId="{16CCBD85-F179-4CAE-94FA-02D29450FF29}" dt="2021-11-22T19:37:33.932" v="45" actId="478"/>
          <ac:spMkLst>
            <pc:docMk/>
            <pc:sldMk cId="3038720959" sldId="339"/>
            <ac:spMk id="42" creationId="{E509F2C9-0253-4180-81FE-61E462E5DE0C}"/>
          </ac:spMkLst>
        </pc:spChg>
      </pc:sldChg>
      <pc:sldChg chg="modSp mod">
        <pc:chgData name="Marc Feldkirchner" userId="c4135e70-53ec-4cd4-a1bd-4ca908459c8c" providerId="ADAL" clId="{16CCBD85-F179-4CAE-94FA-02D29450FF29}" dt="2021-11-22T19:35:51.277" v="19" actId="18131"/>
        <pc:sldMkLst>
          <pc:docMk/>
          <pc:sldMk cId="1630686082" sldId="359"/>
        </pc:sldMkLst>
        <pc:picChg chg="mod modCrop">
          <ac:chgData name="Marc Feldkirchner" userId="c4135e70-53ec-4cd4-a1bd-4ca908459c8c" providerId="ADAL" clId="{16CCBD85-F179-4CAE-94FA-02D29450FF29}" dt="2021-11-22T19:35:51.277" v="19" actId="18131"/>
          <ac:picMkLst>
            <pc:docMk/>
            <pc:sldMk cId="1630686082" sldId="359"/>
            <ac:picMk id="7" creationId="{4FAC6C64-5A05-4E53-A3AE-BAF0ADC8936E}"/>
          </ac:picMkLst>
        </pc:picChg>
      </pc:sldChg>
      <pc:sldChg chg="addSp delSp modSp new del mod modClrScheme chgLayout">
        <pc:chgData name="Marc Feldkirchner" userId="c4135e70-53ec-4cd4-a1bd-4ca908459c8c" providerId="ADAL" clId="{16CCBD85-F179-4CAE-94FA-02D29450FF29}" dt="2021-11-25T16:20:51.127" v="187" actId="47"/>
        <pc:sldMkLst>
          <pc:docMk/>
          <pc:sldMk cId="1568714577" sldId="377"/>
        </pc:sldMkLst>
        <pc:spChg chg="del">
          <ac:chgData name="Marc Feldkirchner" userId="c4135e70-53ec-4cd4-a1bd-4ca908459c8c" providerId="ADAL" clId="{16CCBD85-F179-4CAE-94FA-02D29450FF29}" dt="2021-11-25T16:19:49.523" v="140" actId="700"/>
          <ac:spMkLst>
            <pc:docMk/>
            <pc:sldMk cId="1568714577" sldId="377"/>
            <ac:spMk id="2" creationId="{1FAF53C3-F96C-408F-877C-180D324166F6}"/>
          </ac:spMkLst>
        </pc:spChg>
        <pc:spChg chg="del mod ord">
          <ac:chgData name="Marc Feldkirchner" userId="c4135e70-53ec-4cd4-a1bd-4ca908459c8c" providerId="ADAL" clId="{16CCBD85-F179-4CAE-94FA-02D29450FF29}" dt="2021-11-25T16:19:49.523" v="140" actId="700"/>
          <ac:spMkLst>
            <pc:docMk/>
            <pc:sldMk cId="1568714577" sldId="377"/>
            <ac:spMk id="3" creationId="{AF3C2731-8977-4B69-86FF-969699303030}"/>
          </ac:spMkLst>
        </pc:spChg>
        <pc:spChg chg="del mod ord">
          <ac:chgData name="Marc Feldkirchner" userId="c4135e70-53ec-4cd4-a1bd-4ca908459c8c" providerId="ADAL" clId="{16CCBD85-F179-4CAE-94FA-02D29450FF29}" dt="2021-11-25T16:19:49.523" v="140" actId="700"/>
          <ac:spMkLst>
            <pc:docMk/>
            <pc:sldMk cId="1568714577" sldId="377"/>
            <ac:spMk id="4" creationId="{2E14F474-302B-4AFC-8C43-95003DA779D1}"/>
          </ac:spMkLst>
        </pc:spChg>
        <pc:spChg chg="add mod ord">
          <ac:chgData name="Marc Feldkirchner" userId="c4135e70-53ec-4cd4-a1bd-4ca908459c8c" providerId="ADAL" clId="{16CCBD85-F179-4CAE-94FA-02D29450FF29}" dt="2021-11-25T16:20:42.642" v="185" actId="700"/>
          <ac:spMkLst>
            <pc:docMk/>
            <pc:sldMk cId="1568714577" sldId="377"/>
            <ac:spMk id="5" creationId="{739D3F06-99D0-4042-8D11-1304878128FE}"/>
          </ac:spMkLst>
        </pc:spChg>
        <pc:spChg chg="add del mod ord">
          <ac:chgData name="Marc Feldkirchner" userId="c4135e70-53ec-4cd4-a1bd-4ca908459c8c" providerId="ADAL" clId="{16CCBD85-F179-4CAE-94FA-02D29450FF29}" dt="2021-11-25T16:19:52.361" v="141" actId="478"/>
          <ac:spMkLst>
            <pc:docMk/>
            <pc:sldMk cId="1568714577" sldId="377"/>
            <ac:spMk id="6" creationId="{0BD740EF-081D-4341-ACF9-3BA8562C3E50}"/>
          </ac:spMkLst>
        </pc:spChg>
        <pc:spChg chg="add mod ord">
          <ac:chgData name="Marc Feldkirchner" userId="c4135e70-53ec-4cd4-a1bd-4ca908459c8c" providerId="ADAL" clId="{16CCBD85-F179-4CAE-94FA-02D29450FF29}" dt="2021-11-25T16:20:42.642" v="185" actId="700"/>
          <ac:spMkLst>
            <pc:docMk/>
            <pc:sldMk cId="1568714577" sldId="377"/>
            <ac:spMk id="7" creationId="{12A05980-FD40-4F86-9F7E-BA59FDE8A56C}"/>
          </ac:spMkLst>
        </pc:spChg>
        <pc:spChg chg="add del mod ord">
          <ac:chgData name="Marc Feldkirchner" userId="c4135e70-53ec-4cd4-a1bd-4ca908459c8c" providerId="ADAL" clId="{16CCBD85-F179-4CAE-94FA-02D29450FF29}" dt="2021-11-25T16:20:20.962" v="183" actId="478"/>
          <ac:spMkLst>
            <pc:docMk/>
            <pc:sldMk cId="1568714577" sldId="377"/>
            <ac:spMk id="8" creationId="{A062541B-E078-4577-AB61-B74D6B5EAA16}"/>
          </ac:spMkLst>
        </pc:spChg>
        <pc:spChg chg="add del mod ord">
          <ac:chgData name="Marc Feldkirchner" userId="c4135e70-53ec-4cd4-a1bd-4ca908459c8c" providerId="ADAL" clId="{16CCBD85-F179-4CAE-94FA-02D29450FF29}" dt="2021-11-25T16:20:42.642" v="185" actId="700"/>
          <ac:spMkLst>
            <pc:docMk/>
            <pc:sldMk cId="1568714577" sldId="377"/>
            <ac:spMk id="9" creationId="{398C2E27-DBEE-4664-A156-A0A31D03EBA5}"/>
          </ac:spMkLst>
        </pc:spChg>
        <pc:spChg chg="add del mod ord">
          <ac:chgData name="Marc Feldkirchner" userId="c4135e70-53ec-4cd4-a1bd-4ca908459c8c" providerId="ADAL" clId="{16CCBD85-F179-4CAE-94FA-02D29450FF29}" dt="2021-11-25T16:20:42.642" v="185" actId="700"/>
          <ac:spMkLst>
            <pc:docMk/>
            <pc:sldMk cId="1568714577" sldId="377"/>
            <ac:spMk id="10" creationId="{57BAD265-379B-45B7-804A-2288FB314936}"/>
          </ac:spMkLst>
        </pc:spChg>
        <pc:spChg chg="add mod ord">
          <ac:chgData name="Marc Feldkirchner" userId="c4135e70-53ec-4cd4-a1bd-4ca908459c8c" providerId="ADAL" clId="{16CCBD85-F179-4CAE-94FA-02D29450FF29}" dt="2021-11-25T16:20:42.642" v="185" actId="700"/>
          <ac:spMkLst>
            <pc:docMk/>
            <pc:sldMk cId="1568714577" sldId="377"/>
            <ac:spMk id="11" creationId="{C152643D-D6DC-465F-BAF9-E85A94278CD7}"/>
          </ac:spMkLst>
        </pc:spChg>
      </pc:sldChg>
      <pc:sldChg chg="addSp delSp modSp new mod">
        <pc:chgData name="Marc Feldkirchner" userId="c4135e70-53ec-4cd4-a1bd-4ca908459c8c" providerId="ADAL" clId="{16CCBD85-F179-4CAE-94FA-02D29450FF29}" dt="2021-11-25T16:36:03.341" v="420" actId="113"/>
        <pc:sldMkLst>
          <pc:docMk/>
          <pc:sldMk cId="2497184076" sldId="378"/>
        </pc:sldMkLst>
        <pc:spChg chg="del">
          <ac:chgData name="Marc Feldkirchner" userId="c4135e70-53ec-4cd4-a1bd-4ca908459c8c" providerId="ADAL" clId="{16CCBD85-F179-4CAE-94FA-02D29450FF29}" dt="2021-11-25T16:21:05.094" v="216" actId="478"/>
          <ac:spMkLst>
            <pc:docMk/>
            <pc:sldMk cId="2497184076" sldId="378"/>
            <ac:spMk id="2" creationId="{0B227CD9-70EC-4BC5-9082-F4E2D4BCB31B}"/>
          </ac:spMkLst>
        </pc:spChg>
        <pc:spChg chg="mod">
          <ac:chgData name="Marc Feldkirchner" userId="c4135e70-53ec-4cd4-a1bd-4ca908459c8c" providerId="ADAL" clId="{16CCBD85-F179-4CAE-94FA-02D29450FF29}" dt="2021-11-25T16:21:01.554" v="215" actId="20577"/>
          <ac:spMkLst>
            <pc:docMk/>
            <pc:sldMk cId="2497184076" sldId="378"/>
            <ac:spMk id="4" creationId="{B2C9882B-435C-4959-AAA6-F27692243B46}"/>
          </ac:spMkLst>
        </pc:spChg>
        <pc:spChg chg="del">
          <ac:chgData name="Marc Feldkirchner" userId="c4135e70-53ec-4cd4-a1bd-4ca908459c8c" providerId="ADAL" clId="{16CCBD85-F179-4CAE-94FA-02D29450FF29}" dt="2021-11-25T16:21:07.401" v="217" actId="478"/>
          <ac:spMkLst>
            <pc:docMk/>
            <pc:sldMk cId="2497184076" sldId="378"/>
            <ac:spMk id="5" creationId="{E0418B13-6791-4B2C-84A5-869DF5B77C72}"/>
          </ac:spMkLst>
        </pc:spChg>
        <pc:spChg chg="mod">
          <ac:chgData name="Marc Feldkirchner" userId="c4135e70-53ec-4cd4-a1bd-4ca908459c8c" providerId="ADAL" clId="{16CCBD85-F179-4CAE-94FA-02D29450FF29}" dt="2021-11-25T16:20:54.736" v="197" actId="20577"/>
          <ac:spMkLst>
            <pc:docMk/>
            <pc:sldMk cId="2497184076" sldId="378"/>
            <ac:spMk id="6" creationId="{A9274C40-E085-4A80-ADFD-0A0BCEA441BC}"/>
          </ac:spMkLst>
        </pc:spChg>
        <pc:spChg chg="add mod topLvl">
          <ac:chgData name="Marc Feldkirchner" userId="c4135e70-53ec-4cd4-a1bd-4ca908459c8c" providerId="ADAL" clId="{16CCBD85-F179-4CAE-94FA-02D29450FF29}" dt="2021-11-25T16:35:23.696" v="412" actId="165"/>
          <ac:spMkLst>
            <pc:docMk/>
            <pc:sldMk cId="2497184076" sldId="378"/>
            <ac:spMk id="7" creationId="{F8A9BF32-9A1F-479C-A4A2-E822B340D0FB}"/>
          </ac:spMkLst>
        </pc:spChg>
        <pc:spChg chg="add mod topLvl">
          <ac:chgData name="Marc Feldkirchner" userId="c4135e70-53ec-4cd4-a1bd-4ca908459c8c" providerId="ADAL" clId="{16CCBD85-F179-4CAE-94FA-02D29450FF29}" dt="2021-11-25T16:35:28.459" v="413" actId="113"/>
          <ac:spMkLst>
            <pc:docMk/>
            <pc:sldMk cId="2497184076" sldId="378"/>
            <ac:spMk id="8" creationId="{6FC00559-51C7-40C0-93F5-65FA0D4F8CF4}"/>
          </ac:spMkLst>
        </pc:spChg>
        <pc:spChg chg="add mod topLvl">
          <ac:chgData name="Marc Feldkirchner" userId="c4135e70-53ec-4cd4-a1bd-4ca908459c8c" providerId="ADAL" clId="{16CCBD85-F179-4CAE-94FA-02D29450FF29}" dt="2021-11-25T16:35:23.696" v="412" actId="165"/>
          <ac:spMkLst>
            <pc:docMk/>
            <pc:sldMk cId="2497184076" sldId="378"/>
            <ac:spMk id="9" creationId="{69B90412-4391-4D30-B7D1-90258928F6EB}"/>
          </ac:spMkLst>
        </pc:spChg>
        <pc:spChg chg="add mod">
          <ac:chgData name="Marc Feldkirchner" userId="c4135e70-53ec-4cd4-a1bd-4ca908459c8c" providerId="ADAL" clId="{16CCBD85-F179-4CAE-94FA-02D29450FF29}" dt="2021-11-25T16:34:59.073" v="409" actId="1076"/>
          <ac:spMkLst>
            <pc:docMk/>
            <pc:sldMk cId="2497184076" sldId="378"/>
            <ac:spMk id="10" creationId="{7A141C31-F668-415A-B4AA-1AD8755ED907}"/>
          </ac:spMkLst>
        </pc:spChg>
        <pc:spChg chg="add del mod">
          <ac:chgData name="Marc Feldkirchner" userId="c4135e70-53ec-4cd4-a1bd-4ca908459c8c" providerId="ADAL" clId="{16CCBD85-F179-4CAE-94FA-02D29450FF29}" dt="2021-11-25T16:22:54.514" v="301" actId="478"/>
          <ac:spMkLst>
            <pc:docMk/>
            <pc:sldMk cId="2497184076" sldId="378"/>
            <ac:spMk id="11" creationId="{214BF1E9-E07E-40A7-940A-0E9C240C12B9}"/>
          </ac:spMkLst>
        </pc:spChg>
        <pc:spChg chg="add mod">
          <ac:chgData name="Marc Feldkirchner" userId="c4135e70-53ec-4cd4-a1bd-4ca908459c8c" providerId="ADAL" clId="{16CCBD85-F179-4CAE-94FA-02D29450FF29}" dt="2021-11-25T16:36:03.341" v="420" actId="113"/>
          <ac:spMkLst>
            <pc:docMk/>
            <pc:sldMk cId="2497184076" sldId="378"/>
            <ac:spMk id="13" creationId="{82C62855-B095-4A54-87E4-C5DD9E1F69F2}"/>
          </ac:spMkLst>
        </pc:spChg>
        <pc:grpChg chg="add del mod">
          <ac:chgData name="Marc Feldkirchner" userId="c4135e70-53ec-4cd4-a1bd-4ca908459c8c" providerId="ADAL" clId="{16CCBD85-F179-4CAE-94FA-02D29450FF29}" dt="2021-11-25T16:35:23.696" v="412" actId="165"/>
          <ac:grpSpMkLst>
            <pc:docMk/>
            <pc:sldMk cId="2497184076" sldId="378"/>
            <ac:grpSpMk id="12" creationId="{810DE27D-6554-4ACB-A74F-1FC88EB7BA77}"/>
          </ac:grpSpMkLst>
        </pc:grpChg>
      </pc:sldChg>
      <pc:sldChg chg="addSp delSp modSp add mod">
        <pc:chgData name="Marc Feldkirchner" userId="c4135e70-53ec-4cd4-a1bd-4ca908459c8c" providerId="ADAL" clId="{16CCBD85-F179-4CAE-94FA-02D29450FF29}" dt="2021-11-25T17:00:05.317" v="824"/>
        <pc:sldMkLst>
          <pc:docMk/>
          <pc:sldMk cId="941330492" sldId="379"/>
        </pc:sldMkLst>
        <pc:spChg chg="add mod">
          <ac:chgData name="Marc Feldkirchner" userId="c4135e70-53ec-4cd4-a1bd-4ca908459c8c" providerId="ADAL" clId="{16CCBD85-F179-4CAE-94FA-02D29450FF29}" dt="2021-11-25T16:58:07.187" v="802" actId="207"/>
          <ac:spMkLst>
            <pc:docMk/>
            <pc:sldMk cId="941330492" sldId="379"/>
            <ac:spMk id="2" creationId="{BBF08E8E-964B-4DAE-BD80-34ECA5816C93}"/>
          </ac:spMkLst>
        </pc:spChg>
        <pc:spChg chg="add mod">
          <ac:chgData name="Marc Feldkirchner" userId="c4135e70-53ec-4cd4-a1bd-4ca908459c8c" providerId="ADAL" clId="{16CCBD85-F179-4CAE-94FA-02D29450FF29}" dt="2021-11-25T16:58:20.977" v="805" actId="20577"/>
          <ac:spMkLst>
            <pc:docMk/>
            <pc:sldMk cId="941330492" sldId="379"/>
            <ac:spMk id="5" creationId="{FC749C7A-50AF-4D14-8905-F32AB45E9596}"/>
          </ac:spMkLst>
        </pc:spChg>
        <pc:spChg chg="mod">
          <ac:chgData name="Marc Feldkirchner" userId="c4135e70-53ec-4cd4-a1bd-4ca908459c8c" providerId="ADAL" clId="{16CCBD85-F179-4CAE-94FA-02D29450FF29}" dt="2021-11-25T16:50:13.940" v="603" actId="20577"/>
          <ac:spMkLst>
            <pc:docMk/>
            <pc:sldMk cId="941330492" sldId="379"/>
            <ac:spMk id="6" creationId="{A9274C40-E085-4A80-ADFD-0A0BCEA441BC}"/>
          </ac:spMkLst>
        </pc:spChg>
        <pc:spChg chg="add del mod">
          <ac:chgData name="Marc Feldkirchner" userId="c4135e70-53ec-4cd4-a1bd-4ca908459c8c" providerId="ADAL" clId="{16CCBD85-F179-4CAE-94FA-02D29450FF29}" dt="2021-11-25T16:46:16.254" v="537" actId="478"/>
          <ac:spMkLst>
            <pc:docMk/>
            <pc:sldMk cId="941330492" sldId="379"/>
            <ac:spMk id="7" creationId="{604B2638-D425-4CFD-B65D-C18DCAE33FDF}"/>
          </ac:spMkLst>
        </pc:spChg>
        <pc:spChg chg="add del mod">
          <ac:chgData name="Marc Feldkirchner" userId="c4135e70-53ec-4cd4-a1bd-4ca908459c8c" providerId="ADAL" clId="{16CCBD85-F179-4CAE-94FA-02D29450FF29}" dt="2021-11-25T16:46:16.254" v="537" actId="478"/>
          <ac:spMkLst>
            <pc:docMk/>
            <pc:sldMk cId="941330492" sldId="379"/>
            <ac:spMk id="8" creationId="{9692419D-21C9-4FB3-8DDA-BC5CB0B426D3}"/>
          </ac:spMkLst>
        </pc:spChg>
        <pc:spChg chg="add del mod">
          <ac:chgData name="Marc Feldkirchner" userId="c4135e70-53ec-4cd4-a1bd-4ca908459c8c" providerId="ADAL" clId="{16CCBD85-F179-4CAE-94FA-02D29450FF29}" dt="2021-11-25T16:46:16.254" v="537" actId="478"/>
          <ac:spMkLst>
            <pc:docMk/>
            <pc:sldMk cId="941330492" sldId="379"/>
            <ac:spMk id="9" creationId="{7D5AE716-7E86-4F20-8172-45615B84BA11}"/>
          </ac:spMkLst>
        </pc:spChg>
        <pc:spChg chg="add del mod">
          <ac:chgData name="Marc Feldkirchner" userId="c4135e70-53ec-4cd4-a1bd-4ca908459c8c" providerId="ADAL" clId="{16CCBD85-F179-4CAE-94FA-02D29450FF29}" dt="2021-11-25T16:46:16.254" v="537" actId="478"/>
          <ac:spMkLst>
            <pc:docMk/>
            <pc:sldMk cId="941330492" sldId="379"/>
            <ac:spMk id="10" creationId="{D388226E-3E58-43B4-999E-28EAA8E71723}"/>
          </ac:spMkLst>
        </pc:spChg>
        <pc:spChg chg="add del mod">
          <ac:chgData name="Marc Feldkirchner" userId="c4135e70-53ec-4cd4-a1bd-4ca908459c8c" providerId="ADAL" clId="{16CCBD85-F179-4CAE-94FA-02D29450FF29}" dt="2021-11-25T16:39:21.311" v="475" actId="478"/>
          <ac:spMkLst>
            <pc:docMk/>
            <pc:sldMk cId="941330492" sldId="379"/>
            <ac:spMk id="11" creationId="{04FCF8D9-9284-49AD-9F47-C0224EFDB361}"/>
          </ac:spMkLst>
        </pc:spChg>
        <pc:spChg chg="add mod">
          <ac:chgData name="Marc Feldkirchner" userId="c4135e70-53ec-4cd4-a1bd-4ca908459c8c" providerId="ADAL" clId="{16CCBD85-F179-4CAE-94FA-02D29450FF29}" dt="2021-11-25T16:59:10.740" v="817" actId="207"/>
          <ac:spMkLst>
            <pc:docMk/>
            <pc:sldMk cId="941330492" sldId="379"/>
            <ac:spMk id="12" creationId="{23060116-439C-4F92-91A6-51953D835258}"/>
          </ac:spMkLst>
        </pc:spChg>
        <pc:spChg chg="add mod">
          <ac:chgData name="Marc Feldkirchner" userId="c4135e70-53ec-4cd4-a1bd-4ca908459c8c" providerId="ADAL" clId="{16CCBD85-F179-4CAE-94FA-02D29450FF29}" dt="2021-11-25T16:59:23.331" v="819" actId="207"/>
          <ac:spMkLst>
            <pc:docMk/>
            <pc:sldMk cId="941330492" sldId="379"/>
            <ac:spMk id="13" creationId="{0BF4BDD5-4947-40C6-BB83-1269181F2508}"/>
          </ac:spMkLst>
        </pc:spChg>
        <pc:spChg chg="add mod">
          <ac:chgData name="Marc Feldkirchner" userId="c4135e70-53ec-4cd4-a1bd-4ca908459c8c" providerId="ADAL" clId="{16CCBD85-F179-4CAE-94FA-02D29450FF29}" dt="2021-11-25T16:51:43.432" v="666" actId="1036"/>
          <ac:spMkLst>
            <pc:docMk/>
            <pc:sldMk cId="941330492" sldId="379"/>
            <ac:spMk id="14" creationId="{87F51B93-1C12-4868-A6EC-CC179B953CA5}"/>
          </ac:spMkLst>
        </pc:spChg>
        <pc:spChg chg="add mod">
          <ac:chgData name="Marc Feldkirchner" userId="c4135e70-53ec-4cd4-a1bd-4ca908459c8c" providerId="ADAL" clId="{16CCBD85-F179-4CAE-94FA-02D29450FF29}" dt="2021-11-25T16:59:54.223" v="822" actId="207"/>
          <ac:spMkLst>
            <pc:docMk/>
            <pc:sldMk cId="941330492" sldId="379"/>
            <ac:spMk id="15" creationId="{C6DD6111-757B-48AB-9961-8813AFE74ABD}"/>
          </ac:spMkLst>
        </pc:spChg>
        <pc:spChg chg="add mod">
          <ac:chgData name="Marc Feldkirchner" userId="c4135e70-53ec-4cd4-a1bd-4ca908459c8c" providerId="ADAL" clId="{16CCBD85-F179-4CAE-94FA-02D29450FF29}" dt="2021-11-25T16:51:43.432" v="666" actId="1036"/>
          <ac:spMkLst>
            <pc:docMk/>
            <pc:sldMk cId="941330492" sldId="379"/>
            <ac:spMk id="16" creationId="{E4BC8FEE-B4C1-4BF4-9C29-96CBAEF4E0F7}"/>
          </ac:spMkLst>
        </pc:spChg>
        <pc:spChg chg="add del mod">
          <ac:chgData name="Marc Feldkirchner" userId="c4135e70-53ec-4cd4-a1bd-4ca908459c8c" providerId="ADAL" clId="{16CCBD85-F179-4CAE-94FA-02D29450FF29}" dt="2021-11-25T16:47:45.416" v="570" actId="478"/>
          <ac:spMkLst>
            <pc:docMk/>
            <pc:sldMk cId="941330492" sldId="379"/>
            <ac:spMk id="17" creationId="{E06E7552-0A00-4667-B7D3-16196C11FD2B}"/>
          </ac:spMkLst>
        </pc:spChg>
        <pc:spChg chg="add del mod">
          <ac:chgData name="Marc Feldkirchner" userId="c4135e70-53ec-4cd4-a1bd-4ca908459c8c" providerId="ADAL" clId="{16CCBD85-F179-4CAE-94FA-02D29450FF29}" dt="2021-11-25T16:47:45.416" v="570" actId="478"/>
          <ac:spMkLst>
            <pc:docMk/>
            <pc:sldMk cId="941330492" sldId="379"/>
            <ac:spMk id="18" creationId="{DE296650-4418-4C38-873E-0398A079087A}"/>
          </ac:spMkLst>
        </pc:spChg>
        <pc:spChg chg="add mod">
          <ac:chgData name="Marc Feldkirchner" userId="c4135e70-53ec-4cd4-a1bd-4ca908459c8c" providerId="ADAL" clId="{16CCBD85-F179-4CAE-94FA-02D29450FF29}" dt="2021-11-25T16:58:50.083" v="813" actId="207"/>
          <ac:spMkLst>
            <pc:docMk/>
            <pc:sldMk cId="941330492" sldId="379"/>
            <ac:spMk id="19" creationId="{076B3D28-B011-42A7-B81D-F07DF7BA339C}"/>
          </ac:spMkLst>
        </pc:spChg>
        <pc:spChg chg="add mod">
          <ac:chgData name="Marc Feldkirchner" userId="c4135e70-53ec-4cd4-a1bd-4ca908459c8c" providerId="ADAL" clId="{16CCBD85-F179-4CAE-94FA-02D29450FF29}" dt="2021-11-25T16:59:00.136" v="815" actId="207"/>
          <ac:spMkLst>
            <pc:docMk/>
            <pc:sldMk cId="941330492" sldId="379"/>
            <ac:spMk id="20" creationId="{01EFA1C3-1830-472E-9DBC-03A116C455DA}"/>
          </ac:spMkLst>
        </pc:spChg>
        <pc:spChg chg="add mod">
          <ac:chgData name="Marc Feldkirchner" userId="c4135e70-53ec-4cd4-a1bd-4ca908459c8c" providerId="ADAL" clId="{16CCBD85-F179-4CAE-94FA-02D29450FF29}" dt="2021-11-25T16:58:51.536" v="814"/>
          <ac:spMkLst>
            <pc:docMk/>
            <pc:sldMk cId="941330492" sldId="379"/>
            <ac:spMk id="21" creationId="{8E6D8DA8-99CA-490B-B542-6535EE2035E5}"/>
          </ac:spMkLst>
        </pc:spChg>
        <pc:spChg chg="add mod">
          <ac:chgData name="Marc Feldkirchner" userId="c4135e70-53ec-4cd4-a1bd-4ca908459c8c" providerId="ADAL" clId="{16CCBD85-F179-4CAE-94FA-02D29450FF29}" dt="2021-11-25T16:59:01.754" v="816"/>
          <ac:spMkLst>
            <pc:docMk/>
            <pc:sldMk cId="941330492" sldId="379"/>
            <ac:spMk id="22" creationId="{1BCE3D12-DE74-423F-81E4-67C2E4F6854E}"/>
          </ac:spMkLst>
        </pc:spChg>
        <pc:spChg chg="add del mod">
          <ac:chgData name="Marc Feldkirchner" userId="c4135e70-53ec-4cd4-a1bd-4ca908459c8c" providerId="ADAL" clId="{16CCBD85-F179-4CAE-94FA-02D29450FF29}" dt="2021-11-25T16:53:05.837" v="690" actId="478"/>
          <ac:spMkLst>
            <pc:docMk/>
            <pc:sldMk cId="941330492" sldId="379"/>
            <ac:spMk id="23" creationId="{D62AF080-E06F-4E4C-838E-2DFA3990C3BE}"/>
          </ac:spMkLst>
        </pc:spChg>
        <pc:spChg chg="add del mod">
          <ac:chgData name="Marc Feldkirchner" userId="c4135e70-53ec-4cd4-a1bd-4ca908459c8c" providerId="ADAL" clId="{16CCBD85-F179-4CAE-94FA-02D29450FF29}" dt="2021-11-25T16:53:08.020" v="691" actId="478"/>
          <ac:spMkLst>
            <pc:docMk/>
            <pc:sldMk cId="941330492" sldId="379"/>
            <ac:spMk id="24" creationId="{E62D5D66-1A19-41F6-8F9C-A09B063819DD}"/>
          </ac:spMkLst>
        </pc:spChg>
        <pc:spChg chg="add mod">
          <ac:chgData name="Marc Feldkirchner" userId="c4135e70-53ec-4cd4-a1bd-4ca908459c8c" providerId="ADAL" clId="{16CCBD85-F179-4CAE-94FA-02D29450FF29}" dt="2021-11-25T16:59:12.675" v="818"/>
          <ac:spMkLst>
            <pc:docMk/>
            <pc:sldMk cId="941330492" sldId="379"/>
            <ac:spMk id="25" creationId="{51F136B8-4740-4548-A9BC-6F6841EECD9B}"/>
          </ac:spMkLst>
        </pc:spChg>
        <pc:spChg chg="add mod">
          <ac:chgData name="Marc Feldkirchner" userId="c4135e70-53ec-4cd4-a1bd-4ca908459c8c" providerId="ADAL" clId="{16CCBD85-F179-4CAE-94FA-02D29450FF29}" dt="2021-11-25T16:59:25.936" v="820"/>
          <ac:spMkLst>
            <pc:docMk/>
            <pc:sldMk cId="941330492" sldId="379"/>
            <ac:spMk id="26" creationId="{5D025722-BE9A-43FD-AD5A-4FA8483124CB}"/>
          </ac:spMkLst>
        </pc:spChg>
        <pc:spChg chg="add mod">
          <ac:chgData name="Marc Feldkirchner" userId="c4135e70-53ec-4cd4-a1bd-4ca908459c8c" providerId="ADAL" clId="{16CCBD85-F179-4CAE-94FA-02D29450FF29}" dt="2021-11-25T16:59:44.528" v="821"/>
          <ac:spMkLst>
            <pc:docMk/>
            <pc:sldMk cId="941330492" sldId="379"/>
            <ac:spMk id="27" creationId="{303BED29-0F9B-4EC4-B799-1AAA0D8BE4D8}"/>
          </ac:spMkLst>
        </pc:spChg>
        <pc:spChg chg="add mod">
          <ac:chgData name="Marc Feldkirchner" userId="c4135e70-53ec-4cd4-a1bd-4ca908459c8c" providerId="ADAL" clId="{16CCBD85-F179-4CAE-94FA-02D29450FF29}" dt="2021-11-25T16:59:56.079" v="823"/>
          <ac:spMkLst>
            <pc:docMk/>
            <pc:sldMk cId="941330492" sldId="379"/>
            <ac:spMk id="28" creationId="{455EF3D8-3FBC-4197-96C2-B54CCCD98304}"/>
          </ac:spMkLst>
        </pc:spChg>
        <pc:spChg chg="add del mod">
          <ac:chgData name="Marc Feldkirchner" userId="c4135e70-53ec-4cd4-a1bd-4ca908459c8c" providerId="ADAL" clId="{16CCBD85-F179-4CAE-94FA-02D29450FF29}" dt="2021-11-25T16:53:26.313" v="697"/>
          <ac:spMkLst>
            <pc:docMk/>
            <pc:sldMk cId="941330492" sldId="379"/>
            <ac:spMk id="29" creationId="{BF46C612-46FE-4260-9168-7D2B1CA8F8AE}"/>
          </ac:spMkLst>
        </pc:spChg>
        <pc:spChg chg="add del mod">
          <ac:chgData name="Marc Feldkirchner" userId="c4135e70-53ec-4cd4-a1bd-4ca908459c8c" providerId="ADAL" clId="{16CCBD85-F179-4CAE-94FA-02D29450FF29}" dt="2021-11-25T16:53:26.313" v="697"/>
          <ac:spMkLst>
            <pc:docMk/>
            <pc:sldMk cId="941330492" sldId="379"/>
            <ac:spMk id="30" creationId="{9A87FA1A-FD2C-4DF2-964A-D4A810E2F590}"/>
          </ac:spMkLst>
        </pc:spChg>
        <pc:spChg chg="add mod">
          <ac:chgData name="Marc Feldkirchner" userId="c4135e70-53ec-4cd4-a1bd-4ca908459c8c" providerId="ADAL" clId="{16CCBD85-F179-4CAE-94FA-02D29450FF29}" dt="2021-11-25T17:00:05.317" v="824"/>
          <ac:spMkLst>
            <pc:docMk/>
            <pc:sldMk cId="941330492" sldId="379"/>
            <ac:spMk id="31" creationId="{1374F7C0-8DE1-418D-90F7-11A0F79DBC5E}"/>
          </ac:spMkLst>
        </pc:spChg>
      </pc:sldChg>
      <pc:sldChg chg="add del">
        <pc:chgData name="Marc Feldkirchner" userId="c4135e70-53ec-4cd4-a1bd-4ca908459c8c" providerId="ADAL" clId="{16CCBD85-F179-4CAE-94FA-02D29450FF29}" dt="2021-11-25T17:00:18.264" v="825" actId="47"/>
        <pc:sldMkLst>
          <pc:docMk/>
          <pc:sldMk cId="1947413665" sldId="380"/>
        </pc:sldMkLst>
      </pc:sldChg>
      <pc:sldChg chg="addSp delSp modSp add del mod">
        <pc:chgData name="Marc Feldkirchner" userId="c4135e70-53ec-4cd4-a1bd-4ca908459c8c" providerId="ADAL" clId="{16CCBD85-F179-4CAE-94FA-02D29450FF29}" dt="2021-11-25T16:50:27.008" v="606" actId="47"/>
        <pc:sldMkLst>
          <pc:docMk/>
          <pc:sldMk cId="3194232387" sldId="381"/>
        </pc:sldMkLst>
        <pc:spChg chg="mod">
          <ac:chgData name="Marc Feldkirchner" userId="c4135e70-53ec-4cd4-a1bd-4ca908459c8c" providerId="ADAL" clId="{16CCBD85-F179-4CAE-94FA-02D29450FF29}" dt="2021-11-25T16:49:36.359" v="592" actId="207"/>
          <ac:spMkLst>
            <pc:docMk/>
            <pc:sldMk cId="3194232387" sldId="381"/>
            <ac:spMk id="2" creationId="{BBF08E8E-964B-4DAE-BD80-34ECA5816C93}"/>
          </ac:spMkLst>
        </pc:spChg>
        <pc:spChg chg="mod">
          <ac:chgData name="Marc Feldkirchner" userId="c4135e70-53ec-4cd4-a1bd-4ca908459c8c" providerId="ADAL" clId="{16CCBD85-F179-4CAE-94FA-02D29450FF29}" dt="2021-11-25T16:48:22.941" v="589" actId="20577"/>
          <ac:spMkLst>
            <pc:docMk/>
            <pc:sldMk cId="3194232387" sldId="381"/>
            <ac:spMk id="6" creationId="{A9274C40-E085-4A80-ADFD-0A0BCEA441BC}"/>
          </ac:spMkLst>
        </pc:spChg>
        <pc:spChg chg="add mod">
          <ac:chgData name="Marc Feldkirchner" userId="c4135e70-53ec-4cd4-a1bd-4ca908459c8c" providerId="ADAL" clId="{16CCBD85-F179-4CAE-94FA-02D29450FF29}" dt="2021-11-25T16:49:39.404" v="593" actId="207"/>
          <ac:spMkLst>
            <pc:docMk/>
            <pc:sldMk cId="3194232387" sldId="381"/>
            <ac:spMk id="11" creationId="{CA62A399-8167-4685-991C-44FCF6AD8B69}"/>
          </ac:spMkLst>
        </pc:spChg>
        <pc:spChg chg="del mod">
          <ac:chgData name="Marc Feldkirchner" userId="c4135e70-53ec-4cd4-a1bd-4ca908459c8c" providerId="ADAL" clId="{16CCBD85-F179-4CAE-94FA-02D29450FF29}" dt="2021-11-25T16:49:58.034" v="595" actId="478"/>
          <ac:spMkLst>
            <pc:docMk/>
            <pc:sldMk cId="3194232387" sldId="381"/>
            <ac:spMk id="12" creationId="{23060116-439C-4F92-91A6-51953D835258}"/>
          </ac:spMkLst>
        </pc:spChg>
        <pc:spChg chg="del">
          <ac:chgData name="Marc Feldkirchner" userId="c4135e70-53ec-4cd4-a1bd-4ca908459c8c" providerId="ADAL" clId="{16CCBD85-F179-4CAE-94FA-02D29450FF29}" dt="2021-11-25T16:49:58.034" v="595" actId="478"/>
          <ac:spMkLst>
            <pc:docMk/>
            <pc:sldMk cId="3194232387" sldId="381"/>
            <ac:spMk id="13" creationId="{0BF4BDD5-4947-40C6-BB83-1269181F2508}"/>
          </ac:spMkLst>
        </pc:spChg>
        <pc:spChg chg="del">
          <ac:chgData name="Marc Feldkirchner" userId="c4135e70-53ec-4cd4-a1bd-4ca908459c8c" providerId="ADAL" clId="{16CCBD85-F179-4CAE-94FA-02D29450FF29}" dt="2021-11-25T16:49:58.034" v="595" actId="478"/>
          <ac:spMkLst>
            <pc:docMk/>
            <pc:sldMk cId="3194232387" sldId="381"/>
            <ac:spMk id="14" creationId="{87F51B93-1C12-4868-A6EC-CC179B953CA5}"/>
          </ac:spMkLst>
        </pc:spChg>
        <pc:spChg chg="del">
          <ac:chgData name="Marc Feldkirchner" userId="c4135e70-53ec-4cd4-a1bd-4ca908459c8c" providerId="ADAL" clId="{16CCBD85-F179-4CAE-94FA-02D29450FF29}" dt="2021-11-25T16:49:58.034" v="595" actId="478"/>
          <ac:spMkLst>
            <pc:docMk/>
            <pc:sldMk cId="3194232387" sldId="381"/>
            <ac:spMk id="15" creationId="{C6DD6111-757B-48AB-9961-8813AFE74ABD}"/>
          </ac:spMkLst>
        </pc:spChg>
        <pc:spChg chg="del">
          <ac:chgData name="Marc Feldkirchner" userId="c4135e70-53ec-4cd4-a1bd-4ca908459c8c" providerId="ADAL" clId="{16CCBD85-F179-4CAE-94FA-02D29450FF29}" dt="2021-11-25T16:49:58.034" v="595" actId="478"/>
          <ac:spMkLst>
            <pc:docMk/>
            <pc:sldMk cId="3194232387" sldId="381"/>
            <ac:spMk id="16" creationId="{E4BC8FEE-B4C1-4BF4-9C29-96CBAEF4E0F7}"/>
          </ac:spMkLst>
        </pc:spChg>
      </pc:sldChg>
      <pc:sldMasterChg chg="addSldLayout modSldLayout">
        <pc:chgData name="Marc Feldkirchner" userId="c4135e70-53ec-4cd4-a1bd-4ca908459c8c" providerId="ADAL" clId="{16CCBD85-F179-4CAE-94FA-02D29450FF29}" dt="2021-11-25T16:26:32.886" v="372" actId="14100"/>
        <pc:sldMasterMkLst>
          <pc:docMk/>
          <pc:sldMasterMk cId="4171192528" sldId="2147483648"/>
        </pc:sldMasterMkLst>
        <pc:sldLayoutChg chg="modSp">
          <pc:chgData name="Marc Feldkirchner" userId="c4135e70-53ec-4cd4-a1bd-4ca908459c8c" providerId="ADAL" clId="{16CCBD85-F179-4CAE-94FA-02D29450FF29}" dt="2021-11-25T16:23:36.996" v="307" actId="255"/>
          <pc:sldLayoutMkLst>
            <pc:docMk/>
            <pc:sldMasterMk cId="4171192528" sldId="2147483648"/>
            <pc:sldLayoutMk cId="1633053589" sldId="2147483660"/>
          </pc:sldLayoutMkLst>
          <pc:spChg chg="mod">
            <ac:chgData name="Marc Feldkirchner" userId="c4135e70-53ec-4cd4-a1bd-4ca908459c8c" providerId="ADAL" clId="{16CCBD85-F179-4CAE-94FA-02D29450FF29}" dt="2021-11-25T16:23:36.996" v="307" actId="255"/>
            <ac:spMkLst>
              <pc:docMk/>
              <pc:sldMasterMk cId="4171192528" sldId="2147483648"/>
              <pc:sldLayoutMk cId="1633053589" sldId="2147483660"/>
              <ac:spMk id="2" creationId="{954EE93F-0761-45C0-94F2-7FB72E74DE69}"/>
            </ac:spMkLst>
          </pc:spChg>
        </pc:sldLayoutChg>
        <pc:sldLayoutChg chg="modSp">
          <pc:chgData name="Marc Feldkirchner" userId="c4135e70-53ec-4cd4-a1bd-4ca908459c8c" providerId="ADAL" clId="{16CCBD85-F179-4CAE-94FA-02D29450FF29}" dt="2021-11-25T16:23:59.501" v="309" actId="403"/>
          <pc:sldLayoutMkLst>
            <pc:docMk/>
            <pc:sldMasterMk cId="4171192528" sldId="2147483648"/>
            <pc:sldLayoutMk cId="2838075522" sldId="2147483677"/>
          </pc:sldLayoutMkLst>
          <pc:spChg chg="mod">
            <ac:chgData name="Marc Feldkirchner" userId="c4135e70-53ec-4cd4-a1bd-4ca908459c8c" providerId="ADAL" clId="{16CCBD85-F179-4CAE-94FA-02D29450FF29}" dt="2021-11-25T16:23:59.501" v="309" actId="403"/>
            <ac:spMkLst>
              <pc:docMk/>
              <pc:sldMasterMk cId="4171192528" sldId="2147483648"/>
              <pc:sldLayoutMk cId="2838075522" sldId="2147483677"/>
              <ac:spMk id="3" creationId="{11C81000-22A3-4CC7-8EE3-44617E065908}"/>
            </ac:spMkLst>
          </pc:spChg>
        </pc:sldLayoutChg>
        <pc:sldLayoutChg chg="modSp">
          <pc:chgData name="Marc Feldkirchner" userId="c4135e70-53ec-4cd4-a1bd-4ca908459c8c" providerId="ADAL" clId="{16CCBD85-F179-4CAE-94FA-02D29450FF29}" dt="2021-11-25T16:24:08.719" v="311" actId="403"/>
          <pc:sldLayoutMkLst>
            <pc:docMk/>
            <pc:sldMasterMk cId="4171192528" sldId="2147483648"/>
            <pc:sldLayoutMk cId="4124328936" sldId="2147483678"/>
          </pc:sldLayoutMkLst>
          <pc:spChg chg="mod">
            <ac:chgData name="Marc Feldkirchner" userId="c4135e70-53ec-4cd4-a1bd-4ca908459c8c" providerId="ADAL" clId="{16CCBD85-F179-4CAE-94FA-02D29450FF29}" dt="2021-11-25T16:24:08.719" v="311" actId="403"/>
            <ac:spMkLst>
              <pc:docMk/>
              <pc:sldMasterMk cId="4171192528" sldId="2147483648"/>
              <pc:sldLayoutMk cId="4124328936" sldId="2147483678"/>
              <ac:spMk id="2" creationId="{6D21FE69-C171-47F5-9D7A-8F2E85637E53}"/>
            </ac:spMkLst>
          </pc:spChg>
        </pc:sldLayoutChg>
        <pc:sldLayoutChg chg="modSp">
          <pc:chgData name="Marc Feldkirchner" userId="c4135e70-53ec-4cd4-a1bd-4ca908459c8c" providerId="ADAL" clId="{16CCBD85-F179-4CAE-94FA-02D29450FF29}" dt="2021-11-25T16:24:04.434" v="310" actId="403"/>
          <pc:sldLayoutMkLst>
            <pc:docMk/>
            <pc:sldMasterMk cId="4171192528" sldId="2147483648"/>
            <pc:sldLayoutMk cId="197050338" sldId="2147483680"/>
          </pc:sldLayoutMkLst>
          <pc:spChg chg="mod">
            <ac:chgData name="Marc Feldkirchner" userId="c4135e70-53ec-4cd4-a1bd-4ca908459c8c" providerId="ADAL" clId="{16CCBD85-F179-4CAE-94FA-02D29450FF29}" dt="2021-11-25T16:24:04.434" v="310" actId="403"/>
            <ac:spMkLst>
              <pc:docMk/>
              <pc:sldMasterMk cId="4171192528" sldId="2147483648"/>
              <pc:sldLayoutMk cId="197050338" sldId="2147483680"/>
              <ac:spMk id="2" creationId="{C726C2D1-5259-462C-90C5-E59A854275CC}"/>
            </ac:spMkLst>
          </pc:spChg>
        </pc:sldLayoutChg>
        <pc:sldLayoutChg chg="modSp">
          <pc:chgData name="Marc Feldkirchner" userId="c4135e70-53ec-4cd4-a1bd-4ca908459c8c" providerId="ADAL" clId="{16CCBD85-F179-4CAE-94FA-02D29450FF29}" dt="2021-11-25T16:24:16.125" v="312" actId="403"/>
          <pc:sldLayoutMkLst>
            <pc:docMk/>
            <pc:sldMasterMk cId="4171192528" sldId="2147483648"/>
            <pc:sldLayoutMk cId="1982309668" sldId="2147483682"/>
          </pc:sldLayoutMkLst>
          <pc:spChg chg="mod">
            <ac:chgData name="Marc Feldkirchner" userId="c4135e70-53ec-4cd4-a1bd-4ca908459c8c" providerId="ADAL" clId="{16CCBD85-F179-4CAE-94FA-02D29450FF29}" dt="2021-11-25T16:24:16.125" v="312" actId="403"/>
            <ac:spMkLst>
              <pc:docMk/>
              <pc:sldMasterMk cId="4171192528" sldId="2147483648"/>
              <pc:sldLayoutMk cId="1982309668" sldId="2147483682"/>
              <ac:spMk id="3" creationId="{11C81000-22A3-4CC7-8EE3-44617E065908}"/>
            </ac:spMkLst>
          </pc:spChg>
        </pc:sldLayoutChg>
        <pc:sldLayoutChg chg="modSp">
          <pc:chgData name="Marc Feldkirchner" userId="c4135e70-53ec-4cd4-a1bd-4ca908459c8c" providerId="ADAL" clId="{16CCBD85-F179-4CAE-94FA-02D29450FF29}" dt="2021-11-25T16:24:19.659" v="313" actId="403"/>
          <pc:sldLayoutMkLst>
            <pc:docMk/>
            <pc:sldMasterMk cId="4171192528" sldId="2147483648"/>
            <pc:sldLayoutMk cId="4032948918" sldId="2147483683"/>
          </pc:sldLayoutMkLst>
          <pc:spChg chg="mod">
            <ac:chgData name="Marc Feldkirchner" userId="c4135e70-53ec-4cd4-a1bd-4ca908459c8c" providerId="ADAL" clId="{16CCBD85-F179-4CAE-94FA-02D29450FF29}" dt="2021-11-25T16:24:19.659" v="313" actId="403"/>
            <ac:spMkLst>
              <pc:docMk/>
              <pc:sldMasterMk cId="4171192528" sldId="2147483648"/>
              <pc:sldLayoutMk cId="4032948918" sldId="2147483683"/>
              <ac:spMk id="3" creationId="{11C81000-22A3-4CC7-8EE3-44617E065908}"/>
            </ac:spMkLst>
          </pc:spChg>
        </pc:sldLayoutChg>
        <pc:sldLayoutChg chg="modSp">
          <pc:chgData name="Marc Feldkirchner" userId="c4135e70-53ec-4cd4-a1bd-4ca908459c8c" providerId="ADAL" clId="{16CCBD85-F179-4CAE-94FA-02D29450FF29}" dt="2021-11-25T16:24:24.767" v="314" actId="403"/>
          <pc:sldLayoutMkLst>
            <pc:docMk/>
            <pc:sldMasterMk cId="4171192528" sldId="2147483648"/>
            <pc:sldLayoutMk cId="353346136" sldId="2147483684"/>
          </pc:sldLayoutMkLst>
          <pc:spChg chg="mod">
            <ac:chgData name="Marc Feldkirchner" userId="c4135e70-53ec-4cd4-a1bd-4ca908459c8c" providerId="ADAL" clId="{16CCBD85-F179-4CAE-94FA-02D29450FF29}" dt="2021-11-25T16:24:24.767" v="314" actId="403"/>
            <ac:spMkLst>
              <pc:docMk/>
              <pc:sldMasterMk cId="4171192528" sldId="2147483648"/>
              <pc:sldLayoutMk cId="353346136" sldId="2147483684"/>
              <ac:spMk id="2" creationId="{1D45CE21-274C-4DBE-8427-F5CF2C647C1C}"/>
            </ac:spMkLst>
          </pc:spChg>
        </pc:sldLayoutChg>
        <pc:sldLayoutChg chg="modSp">
          <pc:chgData name="Marc Feldkirchner" userId="c4135e70-53ec-4cd4-a1bd-4ca908459c8c" providerId="ADAL" clId="{16CCBD85-F179-4CAE-94FA-02D29450FF29}" dt="2021-11-25T16:24:34.206" v="315" actId="403"/>
          <pc:sldLayoutMkLst>
            <pc:docMk/>
            <pc:sldMasterMk cId="4171192528" sldId="2147483648"/>
            <pc:sldLayoutMk cId="3478393784" sldId="2147483685"/>
          </pc:sldLayoutMkLst>
          <pc:spChg chg="mod">
            <ac:chgData name="Marc Feldkirchner" userId="c4135e70-53ec-4cd4-a1bd-4ca908459c8c" providerId="ADAL" clId="{16CCBD85-F179-4CAE-94FA-02D29450FF29}" dt="2021-11-25T16:24:34.206" v="315" actId="403"/>
            <ac:spMkLst>
              <pc:docMk/>
              <pc:sldMasterMk cId="4171192528" sldId="2147483648"/>
              <pc:sldLayoutMk cId="3478393784" sldId="2147483685"/>
              <ac:spMk id="2" creationId="{CB138F73-8805-45B0-B5F3-713B56BDED4B}"/>
            </ac:spMkLst>
          </pc:spChg>
        </pc:sldLayoutChg>
        <pc:sldLayoutChg chg="modSp">
          <pc:chgData name="Marc Feldkirchner" userId="c4135e70-53ec-4cd4-a1bd-4ca908459c8c" providerId="ADAL" clId="{16CCBD85-F179-4CAE-94FA-02D29450FF29}" dt="2021-11-25T16:24:37.830" v="316" actId="403"/>
          <pc:sldLayoutMkLst>
            <pc:docMk/>
            <pc:sldMasterMk cId="4171192528" sldId="2147483648"/>
            <pc:sldLayoutMk cId="695597895" sldId="2147483686"/>
          </pc:sldLayoutMkLst>
          <pc:spChg chg="mod">
            <ac:chgData name="Marc Feldkirchner" userId="c4135e70-53ec-4cd4-a1bd-4ca908459c8c" providerId="ADAL" clId="{16CCBD85-F179-4CAE-94FA-02D29450FF29}" dt="2021-11-25T16:24:37.830" v="316" actId="403"/>
            <ac:spMkLst>
              <pc:docMk/>
              <pc:sldMasterMk cId="4171192528" sldId="2147483648"/>
              <pc:sldLayoutMk cId="695597895" sldId="2147483686"/>
              <ac:spMk id="2" creationId="{8C287C18-301F-4464-89BE-6E721589331D}"/>
            </ac:spMkLst>
          </pc:spChg>
        </pc:sldLayoutChg>
        <pc:sldLayoutChg chg="modSp">
          <pc:chgData name="Marc Feldkirchner" userId="c4135e70-53ec-4cd4-a1bd-4ca908459c8c" providerId="ADAL" clId="{16CCBD85-F179-4CAE-94FA-02D29450FF29}" dt="2021-11-25T16:24:43.724" v="317" actId="403"/>
          <pc:sldLayoutMkLst>
            <pc:docMk/>
            <pc:sldMasterMk cId="4171192528" sldId="2147483648"/>
            <pc:sldLayoutMk cId="2535501271" sldId="2147483687"/>
          </pc:sldLayoutMkLst>
          <pc:spChg chg="mod">
            <ac:chgData name="Marc Feldkirchner" userId="c4135e70-53ec-4cd4-a1bd-4ca908459c8c" providerId="ADAL" clId="{16CCBD85-F179-4CAE-94FA-02D29450FF29}" dt="2021-11-25T16:24:43.724" v="317" actId="403"/>
            <ac:spMkLst>
              <pc:docMk/>
              <pc:sldMasterMk cId="4171192528" sldId="2147483648"/>
              <pc:sldLayoutMk cId="2535501271" sldId="2147483687"/>
              <ac:spMk id="2" creationId="{B7B7D3C4-EB5A-4D3B-8002-1D9070EEF004}"/>
            </ac:spMkLst>
          </pc:spChg>
        </pc:sldLayoutChg>
        <pc:sldLayoutChg chg="modSp">
          <pc:chgData name="Marc Feldkirchner" userId="c4135e70-53ec-4cd4-a1bd-4ca908459c8c" providerId="ADAL" clId="{16CCBD85-F179-4CAE-94FA-02D29450FF29}" dt="2021-11-25T16:24:48.019" v="318" actId="403"/>
          <pc:sldLayoutMkLst>
            <pc:docMk/>
            <pc:sldMasterMk cId="4171192528" sldId="2147483648"/>
            <pc:sldLayoutMk cId="4006506937" sldId="2147483688"/>
          </pc:sldLayoutMkLst>
          <pc:spChg chg="mod">
            <ac:chgData name="Marc Feldkirchner" userId="c4135e70-53ec-4cd4-a1bd-4ca908459c8c" providerId="ADAL" clId="{16CCBD85-F179-4CAE-94FA-02D29450FF29}" dt="2021-11-25T16:24:48.019" v="318" actId="403"/>
            <ac:spMkLst>
              <pc:docMk/>
              <pc:sldMasterMk cId="4171192528" sldId="2147483648"/>
              <pc:sldLayoutMk cId="4006506937" sldId="2147483688"/>
              <ac:spMk id="5" creationId="{E3B18D22-A3E5-4673-815D-100D17846FA1}"/>
            </ac:spMkLst>
          </pc:spChg>
        </pc:sldLayoutChg>
        <pc:sldLayoutChg chg="modSp">
          <pc:chgData name="Marc Feldkirchner" userId="c4135e70-53ec-4cd4-a1bd-4ca908459c8c" providerId="ADAL" clId="{16CCBD85-F179-4CAE-94FA-02D29450FF29}" dt="2021-11-25T16:24:53.448" v="319" actId="403"/>
          <pc:sldLayoutMkLst>
            <pc:docMk/>
            <pc:sldMasterMk cId="4171192528" sldId="2147483648"/>
            <pc:sldLayoutMk cId="939117591" sldId="2147483689"/>
          </pc:sldLayoutMkLst>
          <pc:spChg chg="mod">
            <ac:chgData name="Marc Feldkirchner" userId="c4135e70-53ec-4cd4-a1bd-4ca908459c8c" providerId="ADAL" clId="{16CCBD85-F179-4CAE-94FA-02D29450FF29}" dt="2021-11-25T16:24:53.448" v="319" actId="403"/>
            <ac:spMkLst>
              <pc:docMk/>
              <pc:sldMasterMk cId="4171192528" sldId="2147483648"/>
              <pc:sldLayoutMk cId="939117591" sldId="2147483689"/>
              <ac:spMk id="8" creationId="{EFAA7117-B871-475F-A19B-4FEFEFA44BFA}"/>
            </ac:spMkLst>
          </pc:spChg>
        </pc:sldLayoutChg>
        <pc:sldLayoutChg chg="modSp">
          <pc:chgData name="Marc Feldkirchner" userId="c4135e70-53ec-4cd4-a1bd-4ca908459c8c" providerId="ADAL" clId="{16CCBD85-F179-4CAE-94FA-02D29450FF29}" dt="2021-11-25T16:23:51.084" v="308" actId="255"/>
          <pc:sldLayoutMkLst>
            <pc:docMk/>
            <pc:sldMasterMk cId="4171192528" sldId="2147483648"/>
            <pc:sldLayoutMk cId="1519303885" sldId="2147483690"/>
          </pc:sldLayoutMkLst>
          <pc:spChg chg="mod">
            <ac:chgData name="Marc Feldkirchner" userId="c4135e70-53ec-4cd4-a1bd-4ca908459c8c" providerId="ADAL" clId="{16CCBD85-F179-4CAE-94FA-02D29450FF29}" dt="2021-11-25T16:23:51.084" v="308" actId="255"/>
            <ac:spMkLst>
              <pc:docMk/>
              <pc:sldMasterMk cId="4171192528" sldId="2147483648"/>
              <pc:sldLayoutMk cId="1519303885" sldId="2147483690"/>
              <ac:spMk id="104" creationId="{C98E9493-1F8B-4FBF-92CD-FD88C8614C6D}"/>
            </ac:spMkLst>
          </pc:spChg>
        </pc:sldLayoutChg>
        <pc:sldLayoutChg chg="modSp">
          <pc:chgData name="Marc Feldkirchner" userId="c4135e70-53ec-4cd4-a1bd-4ca908459c8c" providerId="ADAL" clId="{16CCBD85-F179-4CAE-94FA-02D29450FF29}" dt="2021-11-25T16:25:03.113" v="320" actId="403"/>
          <pc:sldLayoutMkLst>
            <pc:docMk/>
            <pc:sldMasterMk cId="4171192528" sldId="2147483648"/>
            <pc:sldLayoutMk cId="2661342319" sldId="2147483698"/>
          </pc:sldLayoutMkLst>
          <pc:spChg chg="mod">
            <ac:chgData name="Marc Feldkirchner" userId="c4135e70-53ec-4cd4-a1bd-4ca908459c8c" providerId="ADAL" clId="{16CCBD85-F179-4CAE-94FA-02D29450FF29}" dt="2021-11-25T16:25:03.113" v="320" actId="403"/>
            <ac:spMkLst>
              <pc:docMk/>
              <pc:sldMasterMk cId="4171192528" sldId="2147483648"/>
              <pc:sldLayoutMk cId="2661342319" sldId="2147483698"/>
              <ac:spMk id="8" creationId="{EFAA7117-B871-475F-A19B-4FEFEFA44BFA}"/>
            </ac:spMkLst>
          </pc:spChg>
        </pc:sldLayoutChg>
        <pc:sldLayoutChg chg="delSp modSp add mod modTransition">
          <pc:chgData name="Marc Feldkirchner" userId="c4135e70-53ec-4cd4-a1bd-4ca908459c8c" providerId="ADAL" clId="{16CCBD85-F179-4CAE-94FA-02D29450FF29}" dt="2021-11-25T16:26:32.886" v="372" actId="14100"/>
          <pc:sldLayoutMkLst>
            <pc:docMk/>
            <pc:sldMasterMk cId="4171192528" sldId="2147483648"/>
            <pc:sldLayoutMk cId="3148073896" sldId="2147483699"/>
          </pc:sldLayoutMkLst>
          <pc:spChg chg="del">
            <ac:chgData name="Marc Feldkirchner" userId="c4135e70-53ec-4cd4-a1bd-4ca908459c8c" providerId="ADAL" clId="{16CCBD85-F179-4CAE-94FA-02D29450FF29}" dt="2021-11-25T16:25:41.813" v="323" actId="478"/>
            <ac:spMkLst>
              <pc:docMk/>
              <pc:sldMasterMk cId="4171192528" sldId="2147483648"/>
              <pc:sldLayoutMk cId="3148073896" sldId="2147483699"/>
              <ac:spMk id="6" creationId="{3006ADF7-280D-4EAD-9ED0-B65FC39B9A40}"/>
            </ac:spMkLst>
          </pc:spChg>
          <pc:spChg chg="mod">
            <ac:chgData name="Marc Feldkirchner" userId="c4135e70-53ec-4cd4-a1bd-4ca908459c8c" providerId="ADAL" clId="{16CCBD85-F179-4CAE-94FA-02D29450FF29}" dt="2021-11-25T16:26:32.886" v="372" actId="14100"/>
            <ac:spMkLst>
              <pc:docMk/>
              <pc:sldMasterMk cId="4171192528" sldId="2147483648"/>
              <pc:sldLayoutMk cId="3148073896" sldId="2147483699"/>
              <ac:spMk id="8" creationId="{EFAA7117-B871-475F-A19B-4FEFEFA44BFA}"/>
            </ac:spMkLst>
          </pc:spChg>
        </pc:sldLayoutChg>
      </pc:sldMasterChg>
    </pc:docChg>
  </pc:docChgLst>
  <pc:docChgLst>
    <pc:chgData name="Claas Dibke" userId="S::c.dibke@conbene.de::ddcbaaf6-1c3b-47d3-adc9-2339165010e6" providerId="AD" clId="Web-{CB36E5FC-E06D-4E72-874F-6D19D91E5E49}"/>
    <pc:docChg chg="modSld">
      <pc:chgData name="Claas Dibke" userId="S::c.dibke@conbene.de::ddcbaaf6-1c3b-47d3-adc9-2339165010e6" providerId="AD" clId="Web-{CB36E5FC-E06D-4E72-874F-6D19D91E5E49}" dt="2022-07-14T10:29:42.265" v="0" actId="14100"/>
      <pc:docMkLst>
        <pc:docMk/>
      </pc:docMkLst>
      <pc:sldChg chg="modSp">
        <pc:chgData name="Claas Dibke" userId="S::c.dibke@conbene.de::ddcbaaf6-1c3b-47d3-adc9-2339165010e6" providerId="AD" clId="Web-{CB36E5FC-E06D-4E72-874F-6D19D91E5E49}" dt="2022-07-14T10:29:42.265" v="0" actId="14100"/>
        <pc:sldMkLst>
          <pc:docMk/>
          <pc:sldMk cId="3056604384" sldId="433"/>
        </pc:sldMkLst>
        <pc:picChg chg="mod">
          <ac:chgData name="Claas Dibke" userId="S::c.dibke@conbene.de::ddcbaaf6-1c3b-47d3-adc9-2339165010e6" providerId="AD" clId="Web-{CB36E5FC-E06D-4E72-874F-6D19D91E5E49}" dt="2022-07-14T10:29:42.265" v="0" actId="14100"/>
          <ac:picMkLst>
            <pc:docMk/>
            <pc:sldMk cId="3056604384" sldId="433"/>
            <ac:picMk id="21" creationId="{F14D4847-9BC8-4212-9696-F2B027444D0C}"/>
          </ac:picMkLst>
        </pc:picChg>
      </pc:sldChg>
    </pc:docChg>
  </pc:docChgLst>
  <pc:docChgLst>
    <pc:chgData name="Nils Jennissen" userId="c8e78864-794c-4676-bd08-c750f307b710" providerId="ADAL" clId="{D5E06353-670E-5E4E-B4BD-1BFFE5D08A4D}"/>
    <pc:docChg chg="modSld">
      <pc:chgData name="Nils Jennissen" userId="c8e78864-794c-4676-bd08-c750f307b710" providerId="ADAL" clId="{D5E06353-670E-5E4E-B4BD-1BFFE5D08A4D}" dt="2022-02-24T12:17:11.912" v="2" actId="767"/>
      <pc:docMkLst>
        <pc:docMk/>
      </pc:docMkLst>
      <pc:sldChg chg="addSp modSp">
        <pc:chgData name="Nils Jennissen" userId="c8e78864-794c-4676-bd08-c750f307b710" providerId="ADAL" clId="{D5E06353-670E-5E4E-B4BD-1BFFE5D08A4D}" dt="2022-02-24T12:17:11.912" v="2" actId="767"/>
        <pc:sldMkLst>
          <pc:docMk/>
          <pc:sldMk cId="947004393" sldId="336"/>
        </pc:sldMkLst>
        <pc:spChg chg="add mod">
          <ac:chgData name="Nils Jennissen" userId="c8e78864-794c-4676-bd08-c750f307b710" providerId="ADAL" clId="{D5E06353-670E-5E4E-B4BD-1BFFE5D08A4D}" dt="2022-02-24T12:17:11.912" v="2" actId="767"/>
          <ac:spMkLst>
            <pc:docMk/>
            <pc:sldMk cId="947004393" sldId="336"/>
            <ac:spMk id="2" creationId="{47EB54C4-5BA1-244E-8126-AE0B9AFA1A15}"/>
          </ac:spMkLst>
        </pc:spChg>
      </pc:sldChg>
      <pc:sldChg chg="addSp modSp">
        <pc:chgData name="Nils Jennissen" userId="c8e78864-794c-4676-bd08-c750f307b710" providerId="ADAL" clId="{D5E06353-670E-5E4E-B4BD-1BFFE5D08A4D}" dt="2022-02-24T12:06:16.770" v="1" actId="767"/>
        <pc:sldMkLst>
          <pc:docMk/>
          <pc:sldMk cId="3038720959" sldId="339"/>
        </pc:sldMkLst>
        <pc:spChg chg="add mod">
          <ac:chgData name="Nils Jennissen" userId="c8e78864-794c-4676-bd08-c750f307b710" providerId="ADAL" clId="{D5E06353-670E-5E4E-B4BD-1BFFE5D08A4D}" dt="2022-02-24T12:06:15.568" v="0" actId="767"/>
          <ac:spMkLst>
            <pc:docMk/>
            <pc:sldMk cId="3038720959" sldId="339"/>
            <ac:spMk id="2" creationId="{CB0BC7BC-A64F-5F40-8FC2-5DAB1B154F8E}"/>
          </ac:spMkLst>
        </pc:spChg>
        <pc:spChg chg="add mod">
          <ac:chgData name="Nils Jennissen" userId="c8e78864-794c-4676-bd08-c750f307b710" providerId="ADAL" clId="{D5E06353-670E-5E4E-B4BD-1BFFE5D08A4D}" dt="2022-02-24T12:06:16.770" v="1" actId="767"/>
          <ac:spMkLst>
            <pc:docMk/>
            <pc:sldMk cId="3038720959" sldId="339"/>
            <ac:spMk id="5" creationId="{B7D73A77-E1D9-5142-ADFE-0F0DF05FE96F}"/>
          </ac:spMkLst>
        </pc:spChg>
      </pc:sldChg>
    </pc:docChg>
  </pc:docChgLst>
  <pc:docChgLst>
    <pc:chgData name="Marc Feldkirchner" userId="S::m.feldkirchner@conbene.de::c4135e70-53ec-4cd4-a1bd-4ca908459c8c" providerId="AD" clId="Web-{3F2A90CA-F804-4152-B36B-379B4E3E7E63}"/>
    <pc:docChg chg="modSld">
      <pc:chgData name="Marc Feldkirchner" userId="S::m.feldkirchner@conbene.de::c4135e70-53ec-4cd4-a1bd-4ca908459c8c" providerId="AD" clId="Web-{3F2A90CA-F804-4152-B36B-379B4E3E7E63}" dt="2022-02-08T22:31:42.176" v="1"/>
      <pc:docMkLst>
        <pc:docMk/>
      </pc:docMkLst>
      <pc:sldChg chg="addSp delSp modSp">
        <pc:chgData name="Marc Feldkirchner" userId="S::m.feldkirchner@conbene.de::c4135e70-53ec-4cd4-a1bd-4ca908459c8c" providerId="AD" clId="Web-{3F2A90CA-F804-4152-B36B-379B4E3E7E63}" dt="2022-02-08T22:31:42.176" v="1"/>
        <pc:sldMkLst>
          <pc:docMk/>
          <pc:sldMk cId="216177301" sldId="380"/>
        </pc:sldMkLst>
        <pc:spChg chg="add del mod">
          <ac:chgData name="Marc Feldkirchner" userId="S::m.feldkirchner@conbene.de::c4135e70-53ec-4cd4-a1bd-4ca908459c8c" providerId="AD" clId="Web-{3F2A90CA-F804-4152-B36B-379B4E3E7E63}" dt="2022-02-08T22:31:42.176" v="1"/>
          <ac:spMkLst>
            <pc:docMk/>
            <pc:sldMk cId="216177301" sldId="380"/>
            <ac:spMk id="5" creationId="{F9FCB1CB-85CA-42CF-808A-082C5EDA6DE9}"/>
          </ac:spMkLst>
        </pc:spChg>
        <pc:spChg chg="del">
          <ac:chgData name="Marc Feldkirchner" userId="S::m.feldkirchner@conbene.de::c4135e70-53ec-4cd4-a1bd-4ca908459c8c" providerId="AD" clId="Web-{3F2A90CA-F804-4152-B36B-379B4E3E7E63}" dt="2022-02-08T22:31:37.395" v="0"/>
          <ac:spMkLst>
            <pc:docMk/>
            <pc:sldMk cId="216177301" sldId="380"/>
            <ac:spMk id="17" creationId="{781750EC-AB1A-4019-A93F-FCE186860B52}"/>
          </ac:spMkLst>
        </pc:spChg>
      </pc:sldChg>
    </pc:docChg>
  </pc:docChgLst>
  <pc:docChgLst>
    <pc:chgData name="Marc Feldkirchner" userId="c4135e70-53ec-4cd4-a1bd-4ca908459c8c" providerId="ADAL" clId="{9E6C05E1-8089-4C7B-99E0-8B365EDE2B39}"/>
    <pc:docChg chg="custSel modSld">
      <pc:chgData name="Marc Feldkirchner" userId="c4135e70-53ec-4cd4-a1bd-4ca908459c8c" providerId="ADAL" clId="{9E6C05E1-8089-4C7B-99E0-8B365EDE2B39}" dt="2022-02-16T11:11:37.139" v="34" actId="478"/>
      <pc:docMkLst>
        <pc:docMk/>
      </pc:docMkLst>
      <pc:sldChg chg="addSp delSp modSp mod">
        <pc:chgData name="Marc Feldkirchner" userId="c4135e70-53ec-4cd4-a1bd-4ca908459c8c" providerId="ADAL" clId="{9E6C05E1-8089-4C7B-99E0-8B365EDE2B39}" dt="2022-02-16T11:11:37.139" v="34" actId="478"/>
        <pc:sldMkLst>
          <pc:docMk/>
          <pc:sldMk cId="941330492" sldId="379"/>
        </pc:sldMkLst>
        <pc:spChg chg="add del mod">
          <ac:chgData name="Marc Feldkirchner" userId="c4135e70-53ec-4cd4-a1bd-4ca908459c8c" providerId="ADAL" clId="{9E6C05E1-8089-4C7B-99E0-8B365EDE2B39}" dt="2022-02-16T11:11:37.139" v="34" actId="478"/>
          <ac:spMkLst>
            <pc:docMk/>
            <pc:sldMk cId="941330492" sldId="379"/>
            <ac:spMk id="7" creationId="{AE7B7065-18D9-4F83-9A8E-DF6E17A4C7D9}"/>
          </ac:spMkLst>
        </pc:spChg>
        <pc:spChg chg="add del mod">
          <ac:chgData name="Marc Feldkirchner" userId="c4135e70-53ec-4cd4-a1bd-4ca908459c8c" providerId="ADAL" clId="{9E6C05E1-8089-4C7B-99E0-8B365EDE2B39}" dt="2022-02-16T11:10:45.535" v="10" actId="478"/>
          <ac:spMkLst>
            <pc:docMk/>
            <pc:sldMk cId="941330492" sldId="379"/>
            <ac:spMk id="8" creationId="{C88563E4-AC68-49F6-8F0E-340F1382581F}"/>
          </ac:spMkLst>
        </pc:spChg>
        <pc:spChg chg="add del mod">
          <ac:chgData name="Marc Feldkirchner" userId="c4135e70-53ec-4cd4-a1bd-4ca908459c8c" providerId="ADAL" clId="{9E6C05E1-8089-4C7B-99E0-8B365EDE2B39}" dt="2022-02-16T11:11:34.014" v="32" actId="478"/>
          <ac:spMkLst>
            <pc:docMk/>
            <pc:sldMk cId="941330492" sldId="379"/>
            <ac:spMk id="9" creationId="{D46CE84C-5201-4F2C-AE4D-3DA834B46807}"/>
          </ac:spMkLst>
        </pc:spChg>
        <pc:spChg chg="add del mod">
          <ac:chgData name="Marc Feldkirchner" userId="c4135e70-53ec-4cd4-a1bd-4ca908459c8c" providerId="ADAL" clId="{9E6C05E1-8089-4C7B-99E0-8B365EDE2B39}" dt="2022-02-16T11:10:47.032" v="12" actId="478"/>
          <ac:spMkLst>
            <pc:docMk/>
            <pc:sldMk cId="941330492" sldId="379"/>
            <ac:spMk id="23" creationId="{BFE4CDA4-10B1-494C-A621-66D7599C2D3C}"/>
          </ac:spMkLst>
        </pc:spChg>
        <pc:spChg chg="add del mod">
          <ac:chgData name="Marc Feldkirchner" userId="c4135e70-53ec-4cd4-a1bd-4ca908459c8c" providerId="ADAL" clId="{9E6C05E1-8089-4C7B-99E0-8B365EDE2B39}" dt="2022-02-16T11:11:35.722" v="33" actId="478"/>
          <ac:spMkLst>
            <pc:docMk/>
            <pc:sldMk cId="941330492" sldId="379"/>
            <ac:spMk id="24" creationId="{CF1C8DF6-3039-4E07-BE83-52CE6D43C921}"/>
          </ac:spMkLst>
        </pc:spChg>
      </pc:sldChg>
    </pc:docChg>
  </pc:docChgLst>
  <pc:docChgLst>
    <pc:chgData name="Marc Feldkirchner" userId="c4135e70-53ec-4cd4-a1bd-4ca908459c8c" providerId="ADAL" clId="{8D3E516F-F447-46F4-8220-9AD2A9329575}"/>
    <pc:docChg chg="undo custSel addSld delSld modSld">
      <pc:chgData name="Marc Feldkirchner" userId="c4135e70-53ec-4cd4-a1bd-4ca908459c8c" providerId="ADAL" clId="{8D3E516F-F447-46F4-8220-9AD2A9329575}" dt="2022-02-08T22:30:46.789" v="131" actId="3064"/>
      <pc:docMkLst>
        <pc:docMk/>
      </pc:docMkLst>
      <pc:sldChg chg="modSp add del mod">
        <pc:chgData name="Marc Feldkirchner" userId="c4135e70-53ec-4cd4-a1bd-4ca908459c8c" providerId="ADAL" clId="{8D3E516F-F447-46F4-8220-9AD2A9329575}" dt="2022-02-08T22:30:46.789" v="131" actId="3064"/>
        <pc:sldMkLst>
          <pc:docMk/>
          <pc:sldMk cId="216177301" sldId="380"/>
        </pc:sldMkLst>
        <pc:graphicFrameChg chg="mod modGraphic">
          <ac:chgData name="Marc Feldkirchner" userId="c4135e70-53ec-4cd4-a1bd-4ca908459c8c" providerId="ADAL" clId="{8D3E516F-F447-46F4-8220-9AD2A9329575}" dt="2022-02-08T22:30:46.789" v="131" actId="3064"/>
          <ac:graphicFrameMkLst>
            <pc:docMk/>
            <pc:sldMk cId="216177301" sldId="380"/>
            <ac:graphicFrameMk id="12" creationId="{90A3AE64-04DB-4D3B-AC2B-2A4E8D7484AB}"/>
          </ac:graphicFrameMkLst>
        </pc:graphicFrameChg>
      </pc:sldChg>
    </pc:docChg>
  </pc:docChgLst>
  <pc:docChgLst>
    <pc:chgData name="Daniel Hamann" userId="847c405c-7417-4257-a34f-58113b877d74" providerId="ADAL" clId="{919764FA-1775-44B6-BB7D-8A0C365D0EE5}"/>
    <pc:docChg chg="undo custSel addSld delSld modSld sldOrd addSection delSection modSection">
      <pc:chgData name="Daniel Hamann" userId="847c405c-7417-4257-a34f-58113b877d74" providerId="ADAL" clId="{919764FA-1775-44B6-BB7D-8A0C365D0EE5}" dt="2022-04-05T09:59:37.911" v="320" actId="14100"/>
      <pc:docMkLst>
        <pc:docMk/>
      </pc:docMkLst>
      <pc:sldChg chg="new del ord">
        <pc:chgData name="Daniel Hamann" userId="847c405c-7417-4257-a34f-58113b877d74" providerId="ADAL" clId="{919764FA-1775-44B6-BB7D-8A0C365D0EE5}" dt="2022-04-05T09:29:57.313" v="10" actId="47"/>
        <pc:sldMkLst>
          <pc:docMk/>
          <pc:sldMk cId="3310472277" sldId="425"/>
        </pc:sldMkLst>
      </pc:sldChg>
      <pc:sldChg chg="modSp add mod ord">
        <pc:chgData name="Daniel Hamann" userId="847c405c-7417-4257-a34f-58113b877d74" providerId="ADAL" clId="{919764FA-1775-44B6-BB7D-8A0C365D0EE5}" dt="2022-04-05T09:30:42.859" v="40" actId="20577"/>
        <pc:sldMkLst>
          <pc:docMk/>
          <pc:sldMk cId="3808728708" sldId="426"/>
        </pc:sldMkLst>
        <pc:spChg chg="mod">
          <ac:chgData name="Daniel Hamann" userId="847c405c-7417-4257-a34f-58113b877d74" providerId="ADAL" clId="{919764FA-1775-44B6-BB7D-8A0C365D0EE5}" dt="2022-04-05T09:30:42.859" v="40" actId="20577"/>
          <ac:spMkLst>
            <pc:docMk/>
            <pc:sldMk cId="3808728708" sldId="426"/>
            <ac:spMk id="14" creationId="{B07F6F48-85B6-4FFA-9856-27CF4F35ACE8}"/>
          </ac:spMkLst>
        </pc:spChg>
      </pc:sldChg>
      <pc:sldChg chg="delSp modSp new del mod">
        <pc:chgData name="Daniel Hamann" userId="847c405c-7417-4257-a34f-58113b877d74" providerId="ADAL" clId="{919764FA-1775-44B6-BB7D-8A0C365D0EE5}" dt="2022-04-05T09:33:32.621" v="206" actId="47"/>
        <pc:sldMkLst>
          <pc:docMk/>
          <pc:sldMk cId="3093523369" sldId="427"/>
        </pc:sldMkLst>
        <pc:spChg chg="mod">
          <ac:chgData name="Daniel Hamann" userId="847c405c-7417-4257-a34f-58113b877d74" providerId="ADAL" clId="{919764FA-1775-44B6-BB7D-8A0C365D0EE5}" dt="2022-04-05T09:32:31.947" v="195" actId="20577"/>
          <ac:spMkLst>
            <pc:docMk/>
            <pc:sldMk cId="3093523369" sldId="427"/>
            <ac:spMk id="5" creationId="{EDC1A7C2-6911-47CA-86CA-1A1A643D8DB7}"/>
          </ac:spMkLst>
        </pc:spChg>
        <pc:spChg chg="mod">
          <ac:chgData name="Daniel Hamann" userId="847c405c-7417-4257-a34f-58113b877d74" providerId="ADAL" clId="{919764FA-1775-44B6-BB7D-8A0C365D0EE5}" dt="2022-04-05T09:33:16.898" v="202"/>
          <ac:spMkLst>
            <pc:docMk/>
            <pc:sldMk cId="3093523369" sldId="427"/>
            <ac:spMk id="9" creationId="{701E1652-CD3B-46B2-9DF3-802A1D314DC2}"/>
          </ac:spMkLst>
        </pc:spChg>
        <pc:spChg chg="del">
          <ac:chgData name="Daniel Hamann" userId="847c405c-7417-4257-a34f-58113b877d74" providerId="ADAL" clId="{919764FA-1775-44B6-BB7D-8A0C365D0EE5}" dt="2022-04-05T09:32:07.709" v="150" actId="478"/>
          <ac:spMkLst>
            <pc:docMk/>
            <pc:sldMk cId="3093523369" sldId="427"/>
            <ac:spMk id="11" creationId="{7E6CCDAF-BA5B-4EC6-BA04-92FE47D0ED32}"/>
          </ac:spMkLst>
        </pc:spChg>
        <pc:spChg chg="del">
          <ac:chgData name="Daniel Hamann" userId="847c405c-7417-4257-a34f-58113b877d74" providerId="ADAL" clId="{919764FA-1775-44B6-BB7D-8A0C365D0EE5}" dt="2022-04-05T09:32:07.709" v="150" actId="478"/>
          <ac:spMkLst>
            <pc:docMk/>
            <pc:sldMk cId="3093523369" sldId="427"/>
            <ac:spMk id="12" creationId="{2E96CFC6-F076-419E-BCBC-D7E36E405F79}"/>
          </ac:spMkLst>
        </pc:spChg>
        <pc:spChg chg="del">
          <ac:chgData name="Daniel Hamann" userId="847c405c-7417-4257-a34f-58113b877d74" providerId="ADAL" clId="{919764FA-1775-44B6-BB7D-8A0C365D0EE5}" dt="2022-04-05T09:32:07.709" v="150" actId="478"/>
          <ac:spMkLst>
            <pc:docMk/>
            <pc:sldMk cId="3093523369" sldId="427"/>
            <ac:spMk id="13" creationId="{5F2FF9CB-6E85-4DF0-8473-CBB89DDA540E}"/>
          </ac:spMkLst>
        </pc:spChg>
        <pc:spChg chg="del">
          <ac:chgData name="Daniel Hamann" userId="847c405c-7417-4257-a34f-58113b877d74" providerId="ADAL" clId="{919764FA-1775-44B6-BB7D-8A0C365D0EE5}" dt="2022-04-05T09:32:10.243" v="151" actId="478"/>
          <ac:spMkLst>
            <pc:docMk/>
            <pc:sldMk cId="3093523369" sldId="427"/>
            <ac:spMk id="14" creationId="{94C66E1D-6DE2-494A-A59B-7A0C81A374AB}"/>
          </ac:spMkLst>
        </pc:spChg>
        <pc:spChg chg="del">
          <ac:chgData name="Daniel Hamann" userId="847c405c-7417-4257-a34f-58113b877d74" providerId="ADAL" clId="{919764FA-1775-44B6-BB7D-8A0C365D0EE5}" dt="2022-04-05T09:32:10.243" v="151" actId="478"/>
          <ac:spMkLst>
            <pc:docMk/>
            <pc:sldMk cId="3093523369" sldId="427"/>
            <ac:spMk id="15" creationId="{DF928F48-29DE-4E8D-A3DD-C1FFCC964E8F}"/>
          </ac:spMkLst>
        </pc:spChg>
        <pc:spChg chg="del">
          <ac:chgData name="Daniel Hamann" userId="847c405c-7417-4257-a34f-58113b877d74" providerId="ADAL" clId="{919764FA-1775-44B6-BB7D-8A0C365D0EE5}" dt="2022-04-05T09:32:10.243" v="151" actId="478"/>
          <ac:spMkLst>
            <pc:docMk/>
            <pc:sldMk cId="3093523369" sldId="427"/>
            <ac:spMk id="16" creationId="{EEF4DE8A-292B-46F1-B69B-46FD851A03ED}"/>
          </ac:spMkLst>
        </pc:spChg>
        <pc:spChg chg="mod">
          <ac:chgData name="Daniel Hamann" userId="847c405c-7417-4257-a34f-58113b877d74" providerId="ADAL" clId="{919764FA-1775-44B6-BB7D-8A0C365D0EE5}" dt="2022-04-05T09:32:02.099" v="142" actId="20577"/>
          <ac:spMkLst>
            <pc:docMk/>
            <pc:sldMk cId="3093523369" sldId="427"/>
            <ac:spMk id="18" creationId="{060BA545-ADDE-48CE-919A-C4E438DBC2DA}"/>
          </ac:spMkLst>
        </pc:spChg>
        <pc:spChg chg="del">
          <ac:chgData name="Daniel Hamann" userId="847c405c-7417-4257-a34f-58113b877d74" providerId="ADAL" clId="{919764FA-1775-44B6-BB7D-8A0C365D0EE5}" dt="2022-04-05T09:32:10.243" v="151" actId="478"/>
          <ac:spMkLst>
            <pc:docMk/>
            <pc:sldMk cId="3093523369" sldId="427"/>
            <ac:spMk id="20" creationId="{4D8C14D2-FBAD-49AD-97D7-D6F8B3C7B93F}"/>
          </ac:spMkLst>
        </pc:spChg>
        <pc:spChg chg="del">
          <ac:chgData name="Daniel Hamann" userId="847c405c-7417-4257-a34f-58113b877d74" providerId="ADAL" clId="{919764FA-1775-44B6-BB7D-8A0C365D0EE5}" dt="2022-04-05T09:32:10.243" v="151" actId="478"/>
          <ac:spMkLst>
            <pc:docMk/>
            <pc:sldMk cId="3093523369" sldId="427"/>
            <ac:spMk id="21" creationId="{A002CA3D-EEC8-4E98-B72D-66A75C336868}"/>
          </ac:spMkLst>
        </pc:spChg>
        <pc:spChg chg="del">
          <ac:chgData name="Daniel Hamann" userId="847c405c-7417-4257-a34f-58113b877d74" providerId="ADAL" clId="{919764FA-1775-44B6-BB7D-8A0C365D0EE5}" dt="2022-04-05T09:32:10.243" v="151" actId="478"/>
          <ac:spMkLst>
            <pc:docMk/>
            <pc:sldMk cId="3093523369" sldId="427"/>
            <ac:spMk id="22" creationId="{AAA8B59C-4412-47FC-9393-DCE759DC89EE}"/>
          </ac:spMkLst>
        </pc:spChg>
        <pc:spChg chg="mod">
          <ac:chgData name="Daniel Hamann" userId="847c405c-7417-4257-a34f-58113b877d74" providerId="ADAL" clId="{919764FA-1775-44B6-BB7D-8A0C365D0EE5}" dt="2022-04-05T09:31:37.481" v="82" actId="20577"/>
          <ac:spMkLst>
            <pc:docMk/>
            <pc:sldMk cId="3093523369" sldId="427"/>
            <ac:spMk id="24" creationId="{60CBD09B-4F36-42B6-AB68-13250B2B70CB}"/>
          </ac:spMkLst>
        </pc:spChg>
        <pc:spChg chg="mod">
          <ac:chgData name="Daniel Hamann" userId="847c405c-7417-4257-a34f-58113b877d74" providerId="ADAL" clId="{919764FA-1775-44B6-BB7D-8A0C365D0EE5}" dt="2022-04-05T09:31:43.614" v="95" actId="20577"/>
          <ac:spMkLst>
            <pc:docMk/>
            <pc:sldMk cId="3093523369" sldId="427"/>
            <ac:spMk id="27" creationId="{9C71A212-9EEC-4E16-B212-3896263666D9}"/>
          </ac:spMkLst>
        </pc:spChg>
        <pc:spChg chg="mod">
          <ac:chgData name="Daniel Hamann" userId="847c405c-7417-4257-a34f-58113b877d74" providerId="ADAL" clId="{919764FA-1775-44B6-BB7D-8A0C365D0EE5}" dt="2022-04-05T09:32:05.161" v="149" actId="20577"/>
          <ac:spMkLst>
            <pc:docMk/>
            <pc:sldMk cId="3093523369" sldId="427"/>
            <ac:spMk id="30" creationId="{7E652456-10C6-4D59-B09F-D9CD9AB856BC}"/>
          </ac:spMkLst>
        </pc:spChg>
        <pc:spChg chg="del">
          <ac:chgData name="Daniel Hamann" userId="847c405c-7417-4257-a34f-58113b877d74" providerId="ADAL" clId="{919764FA-1775-44B6-BB7D-8A0C365D0EE5}" dt="2022-04-05T09:32:07.709" v="150" actId="478"/>
          <ac:spMkLst>
            <pc:docMk/>
            <pc:sldMk cId="3093523369" sldId="427"/>
            <ac:spMk id="32" creationId="{A256181B-670B-4984-B11C-7DCB621E31C8}"/>
          </ac:spMkLst>
        </pc:spChg>
        <pc:spChg chg="del">
          <ac:chgData name="Daniel Hamann" userId="847c405c-7417-4257-a34f-58113b877d74" providerId="ADAL" clId="{919764FA-1775-44B6-BB7D-8A0C365D0EE5}" dt="2022-04-05T09:32:07.709" v="150" actId="478"/>
          <ac:spMkLst>
            <pc:docMk/>
            <pc:sldMk cId="3093523369" sldId="427"/>
            <ac:spMk id="33" creationId="{35EE9697-AE29-4887-8081-136FBD1E6FE5}"/>
          </ac:spMkLst>
        </pc:spChg>
        <pc:spChg chg="del">
          <ac:chgData name="Daniel Hamann" userId="847c405c-7417-4257-a34f-58113b877d74" providerId="ADAL" clId="{919764FA-1775-44B6-BB7D-8A0C365D0EE5}" dt="2022-04-05T09:32:07.709" v="150" actId="478"/>
          <ac:spMkLst>
            <pc:docMk/>
            <pc:sldMk cId="3093523369" sldId="427"/>
            <ac:spMk id="34" creationId="{C349BF71-D033-4EE3-9049-1BFBB9CEAD22}"/>
          </ac:spMkLst>
        </pc:spChg>
        <pc:spChg chg="del">
          <ac:chgData name="Daniel Hamann" userId="847c405c-7417-4257-a34f-58113b877d74" providerId="ADAL" clId="{919764FA-1775-44B6-BB7D-8A0C365D0EE5}" dt="2022-04-05T09:32:10.243" v="151" actId="478"/>
          <ac:spMkLst>
            <pc:docMk/>
            <pc:sldMk cId="3093523369" sldId="427"/>
            <ac:spMk id="35" creationId="{BBBBFBD2-16C5-4E61-A27F-56DCDD50FCF9}"/>
          </ac:spMkLst>
        </pc:spChg>
        <pc:spChg chg="del">
          <ac:chgData name="Daniel Hamann" userId="847c405c-7417-4257-a34f-58113b877d74" providerId="ADAL" clId="{919764FA-1775-44B6-BB7D-8A0C365D0EE5}" dt="2022-04-05T09:32:10.243" v="151" actId="478"/>
          <ac:spMkLst>
            <pc:docMk/>
            <pc:sldMk cId="3093523369" sldId="427"/>
            <ac:spMk id="36" creationId="{24D37A8B-8EB1-4775-82F1-91BBF506F117}"/>
          </ac:spMkLst>
        </pc:spChg>
        <pc:spChg chg="del">
          <ac:chgData name="Daniel Hamann" userId="847c405c-7417-4257-a34f-58113b877d74" providerId="ADAL" clId="{919764FA-1775-44B6-BB7D-8A0C365D0EE5}" dt="2022-04-05T09:32:10.243" v="151" actId="478"/>
          <ac:spMkLst>
            <pc:docMk/>
            <pc:sldMk cId="3093523369" sldId="427"/>
            <ac:spMk id="37" creationId="{1EE0251A-27A1-466A-AAAF-CF7B09813E1E}"/>
          </ac:spMkLst>
        </pc:spChg>
        <pc:spChg chg="del">
          <ac:chgData name="Daniel Hamann" userId="847c405c-7417-4257-a34f-58113b877d74" providerId="ADAL" clId="{919764FA-1775-44B6-BB7D-8A0C365D0EE5}" dt="2022-04-05T09:32:10.243" v="151" actId="478"/>
          <ac:spMkLst>
            <pc:docMk/>
            <pc:sldMk cId="3093523369" sldId="427"/>
            <ac:spMk id="38" creationId="{A937FFEF-C9C0-40A4-9038-19CAB14F3D1D}"/>
          </ac:spMkLst>
        </pc:spChg>
        <pc:spChg chg="del">
          <ac:chgData name="Daniel Hamann" userId="847c405c-7417-4257-a34f-58113b877d74" providerId="ADAL" clId="{919764FA-1775-44B6-BB7D-8A0C365D0EE5}" dt="2022-04-05T09:32:10.243" v="151" actId="478"/>
          <ac:spMkLst>
            <pc:docMk/>
            <pc:sldMk cId="3093523369" sldId="427"/>
            <ac:spMk id="39" creationId="{0BE74B21-705B-4F73-9E58-5FA67826B892}"/>
          </ac:spMkLst>
        </pc:spChg>
        <pc:spChg chg="del">
          <ac:chgData name="Daniel Hamann" userId="847c405c-7417-4257-a34f-58113b877d74" providerId="ADAL" clId="{919764FA-1775-44B6-BB7D-8A0C365D0EE5}" dt="2022-04-05T09:32:10.243" v="151" actId="478"/>
          <ac:spMkLst>
            <pc:docMk/>
            <pc:sldMk cId="3093523369" sldId="427"/>
            <ac:spMk id="40" creationId="{6883541F-F90D-4E78-896E-1EF7F83549F7}"/>
          </ac:spMkLst>
        </pc:spChg>
      </pc:sldChg>
      <pc:sldChg chg="addSp delSp modSp new mod modClrScheme chgLayout">
        <pc:chgData name="Daniel Hamann" userId="847c405c-7417-4257-a34f-58113b877d74" providerId="ADAL" clId="{919764FA-1775-44B6-BB7D-8A0C365D0EE5}" dt="2022-04-05T09:33:43.537" v="207" actId="700"/>
        <pc:sldMkLst>
          <pc:docMk/>
          <pc:sldMk cId="3406666726" sldId="428"/>
        </pc:sldMkLst>
        <pc:spChg chg="del mod ord">
          <ac:chgData name="Daniel Hamann" userId="847c405c-7417-4257-a34f-58113b877d74" providerId="ADAL" clId="{919764FA-1775-44B6-BB7D-8A0C365D0EE5}" dt="2022-04-05T09:33:43.537" v="207" actId="700"/>
          <ac:spMkLst>
            <pc:docMk/>
            <pc:sldMk cId="3406666726" sldId="428"/>
            <ac:spMk id="2" creationId="{95C9AE93-7D9B-4401-9FCB-2AEFF1ED390A}"/>
          </ac:spMkLst>
        </pc:spChg>
        <pc:spChg chg="mod ord">
          <ac:chgData name="Daniel Hamann" userId="847c405c-7417-4257-a34f-58113b877d74" providerId="ADAL" clId="{919764FA-1775-44B6-BB7D-8A0C365D0EE5}" dt="2022-04-05T09:33:43.537" v="207" actId="700"/>
          <ac:spMkLst>
            <pc:docMk/>
            <pc:sldMk cId="3406666726" sldId="428"/>
            <ac:spMk id="3" creationId="{1F4D5F3E-D201-4C7A-9407-E39025F1533B}"/>
          </ac:spMkLst>
        </pc:spChg>
        <pc:spChg chg="del mod ord">
          <ac:chgData name="Daniel Hamann" userId="847c405c-7417-4257-a34f-58113b877d74" providerId="ADAL" clId="{919764FA-1775-44B6-BB7D-8A0C365D0EE5}" dt="2022-04-05T09:33:43.537" v="207" actId="700"/>
          <ac:spMkLst>
            <pc:docMk/>
            <pc:sldMk cId="3406666726" sldId="428"/>
            <ac:spMk id="4" creationId="{8153FC4A-28BA-4063-A367-DB303DBDAAE2}"/>
          </ac:spMkLst>
        </pc:spChg>
        <pc:spChg chg="del mod ord">
          <ac:chgData name="Daniel Hamann" userId="847c405c-7417-4257-a34f-58113b877d74" providerId="ADAL" clId="{919764FA-1775-44B6-BB7D-8A0C365D0EE5}" dt="2022-04-05T09:33:43.537" v="207" actId="700"/>
          <ac:spMkLst>
            <pc:docMk/>
            <pc:sldMk cId="3406666726" sldId="428"/>
            <ac:spMk id="5" creationId="{3CB0352B-93BF-4D1E-97F7-BF459D267A75}"/>
          </ac:spMkLst>
        </pc:spChg>
        <pc:spChg chg="mod ord">
          <ac:chgData name="Daniel Hamann" userId="847c405c-7417-4257-a34f-58113b877d74" providerId="ADAL" clId="{919764FA-1775-44B6-BB7D-8A0C365D0EE5}" dt="2022-04-05T09:33:43.537" v="207" actId="700"/>
          <ac:spMkLst>
            <pc:docMk/>
            <pc:sldMk cId="3406666726" sldId="428"/>
            <ac:spMk id="6" creationId="{AF8EAC61-3C64-4CF2-AE56-F3913C7E7E44}"/>
          </ac:spMkLst>
        </pc:spChg>
        <pc:spChg chg="add mod ord">
          <ac:chgData name="Daniel Hamann" userId="847c405c-7417-4257-a34f-58113b877d74" providerId="ADAL" clId="{919764FA-1775-44B6-BB7D-8A0C365D0EE5}" dt="2022-04-05T09:33:43.537" v="207" actId="700"/>
          <ac:spMkLst>
            <pc:docMk/>
            <pc:sldMk cId="3406666726" sldId="428"/>
            <ac:spMk id="7" creationId="{D50CC3DF-8961-49F8-90D9-F547AFEE9186}"/>
          </ac:spMkLst>
        </pc:spChg>
        <pc:spChg chg="add mod ord">
          <ac:chgData name="Daniel Hamann" userId="847c405c-7417-4257-a34f-58113b877d74" providerId="ADAL" clId="{919764FA-1775-44B6-BB7D-8A0C365D0EE5}" dt="2022-04-05T09:33:43.537" v="207" actId="700"/>
          <ac:spMkLst>
            <pc:docMk/>
            <pc:sldMk cId="3406666726" sldId="428"/>
            <ac:spMk id="8" creationId="{82386CFA-D341-49FB-A188-F1C1F6015781}"/>
          </ac:spMkLst>
        </pc:spChg>
        <pc:spChg chg="add mod ord">
          <ac:chgData name="Daniel Hamann" userId="847c405c-7417-4257-a34f-58113b877d74" providerId="ADAL" clId="{919764FA-1775-44B6-BB7D-8A0C365D0EE5}" dt="2022-04-05T09:33:43.537" v="207" actId="700"/>
          <ac:spMkLst>
            <pc:docMk/>
            <pc:sldMk cId="3406666726" sldId="428"/>
            <ac:spMk id="9" creationId="{D9614D97-67F5-405E-A1F8-19E97372C175}"/>
          </ac:spMkLst>
        </pc:spChg>
        <pc:spChg chg="add mod ord">
          <ac:chgData name="Daniel Hamann" userId="847c405c-7417-4257-a34f-58113b877d74" providerId="ADAL" clId="{919764FA-1775-44B6-BB7D-8A0C365D0EE5}" dt="2022-04-05T09:33:43.537" v="207" actId="700"/>
          <ac:spMkLst>
            <pc:docMk/>
            <pc:sldMk cId="3406666726" sldId="428"/>
            <ac:spMk id="10" creationId="{3F189A5D-5DEC-4792-AEEE-C61F5CAA8354}"/>
          </ac:spMkLst>
        </pc:spChg>
      </pc:sldChg>
      <pc:sldChg chg="modSp add mod">
        <pc:chgData name="Daniel Hamann" userId="847c405c-7417-4257-a34f-58113b877d74" providerId="ADAL" clId="{919764FA-1775-44B6-BB7D-8A0C365D0EE5}" dt="2022-04-05T09:33:30.857" v="205"/>
        <pc:sldMkLst>
          <pc:docMk/>
          <pc:sldMk cId="2201740257" sldId="429"/>
        </pc:sldMkLst>
        <pc:spChg chg="mod">
          <ac:chgData name="Daniel Hamann" userId="847c405c-7417-4257-a34f-58113b877d74" providerId="ADAL" clId="{919764FA-1775-44B6-BB7D-8A0C365D0EE5}" dt="2022-04-05T09:33:02.541" v="198"/>
          <ac:spMkLst>
            <pc:docMk/>
            <pc:sldMk cId="2201740257" sldId="429"/>
            <ac:spMk id="179" creationId="{BA596FC9-79E8-4C8F-B716-4B680640466C}"/>
          </ac:spMkLst>
        </pc:spChg>
        <pc:spChg chg="mod">
          <ac:chgData name="Daniel Hamann" userId="847c405c-7417-4257-a34f-58113b877d74" providerId="ADAL" clId="{919764FA-1775-44B6-BB7D-8A0C365D0EE5}" dt="2022-04-05T09:33:19.987" v="203"/>
          <ac:spMkLst>
            <pc:docMk/>
            <pc:sldMk cId="2201740257" sldId="429"/>
            <ac:spMk id="182" creationId="{BA714521-F0A9-44FA-B5A8-FD27D3EFC840}"/>
          </ac:spMkLst>
        </pc:spChg>
        <pc:spChg chg="mod">
          <ac:chgData name="Daniel Hamann" userId="847c405c-7417-4257-a34f-58113b877d74" providerId="ADAL" clId="{919764FA-1775-44B6-BB7D-8A0C365D0EE5}" dt="2022-04-05T09:33:24.911" v="204"/>
          <ac:spMkLst>
            <pc:docMk/>
            <pc:sldMk cId="2201740257" sldId="429"/>
            <ac:spMk id="191" creationId="{7ECDB696-7E06-4989-9BAE-8071ABC83A16}"/>
          </ac:spMkLst>
        </pc:spChg>
        <pc:spChg chg="mod">
          <ac:chgData name="Daniel Hamann" userId="847c405c-7417-4257-a34f-58113b877d74" providerId="ADAL" clId="{919764FA-1775-44B6-BB7D-8A0C365D0EE5}" dt="2022-04-05T09:33:07.849" v="199"/>
          <ac:spMkLst>
            <pc:docMk/>
            <pc:sldMk cId="2201740257" sldId="429"/>
            <ac:spMk id="197" creationId="{85D1901C-874E-4D64-B494-BF73E5D9949F}"/>
          </ac:spMkLst>
        </pc:spChg>
        <pc:spChg chg="mod">
          <ac:chgData name="Daniel Hamann" userId="847c405c-7417-4257-a34f-58113b877d74" providerId="ADAL" clId="{919764FA-1775-44B6-BB7D-8A0C365D0EE5}" dt="2022-04-05T09:33:13.267" v="200"/>
          <ac:spMkLst>
            <pc:docMk/>
            <pc:sldMk cId="2201740257" sldId="429"/>
            <ac:spMk id="200" creationId="{E72D0F0E-AAD2-486F-8138-31245D0542B4}"/>
          </ac:spMkLst>
        </pc:spChg>
        <pc:spChg chg="mod">
          <ac:chgData name="Daniel Hamann" userId="847c405c-7417-4257-a34f-58113b877d74" providerId="ADAL" clId="{919764FA-1775-44B6-BB7D-8A0C365D0EE5}" dt="2022-04-05T09:33:30.857" v="205"/>
          <ac:spMkLst>
            <pc:docMk/>
            <pc:sldMk cId="2201740257" sldId="429"/>
            <ac:spMk id="203" creationId="{759F80D8-6C58-4E1A-B555-224CA4CA6B5B}"/>
          </ac:spMkLst>
        </pc:spChg>
      </pc:sldChg>
      <pc:sldChg chg="addSp delSp modSp add mod modAnim">
        <pc:chgData name="Daniel Hamann" userId="847c405c-7417-4257-a34f-58113b877d74" providerId="ADAL" clId="{919764FA-1775-44B6-BB7D-8A0C365D0EE5}" dt="2022-04-05T09:59:37.911" v="320" actId="14100"/>
        <pc:sldMkLst>
          <pc:docMk/>
          <pc:sldMk cId="911211050" sldId="430"/>
        </pc:sldMkLst>
        <pc:spChg chg="mod">
          <ac:chgData name="Daniel Hamann" userId="847c405c-7417-4257-a34f-58113b877d74" providerId="ADAL" clId="{919764FA-1775-44B6-BB7D-8A0C365D0EE5}" dt="2022-04-05T09:34:12.918" v="247" actId="20577"/>
          <ac:spMkLst>
            <pc:docMk/>
            <pc:sldMk cId="911211050" sldId="430"/>
            <ac:spMk id="6" creationId="{AF8EAC61-3C64-4CF2-AE56-F3913C7E7E44}"/>
          </ac:spMkLst>
        </pc:spChg>
        <pc:spChg chg="del">
          <ac:chgData name="Daniel Hamann" userId="847c405c-7417-4257-a34f-58113b877d74" providerId="ADAL" clId="{919764FA-1775-44B6-BB7D-8A0C365D0EE5}" dt="2022-04-05T09:59:22.822" v="314"/>
          <ac:spMkLst>
            <pc:docMk/>
            <pc:sldMk cId="911211050" sldId="430"/>
            <ac:spMk id="8" creationId="{82386CFA-D341-49FB-A188-F1C1F6015781}"/>
          </ac:spMkLst>
        </pc:spChg>
        <pc:spChg chg="mod">
          <ac:chgData name="Daniel Hamann" userId="847c405c-7417-4257-a34f-58113b877d74" providerId="ADAL" clId="{919764FA-1775-44B6-BB7D-8A0C365D0EE5}" dt="2022-04-05T09:59:37.911" v="320" actId="14100"/>
          <ac:spMkLst>
            <pc:docMk/>
            <pc:sldMk cId="911211050" sldId="430"/>
            <ac:spMk id="9" creationId="{D9614D97-67F5-405E-A1F8-19E97372C175}"/>
          </ac:spMkLst>
        </pc:spChg>
        <pc:picChg chg="add mod">
          <ac:chgData name="Daniel Hamann" userId="847c405c-7417-4257-a34f-58113b877d74" providerId="ADAL" clId="{919764FA-1775-44B6-BB7D-8A0C365D0EE5}" dt="2022-04-05T09:59:27.718" v="317" actId="1076"/>
          <ac:picMkLst>
            <pc:docMk/>
            <pc:sldMk cId="911211050" sldId="430"/>
            <ac:picMk id="4" creationId="{1728B4A4-854F-45C9-8EBC-B6CEF0CED966}"/>
          </ac:picMkLst>
        </pc:picChg>
        <pc:picChg chg="add mod">
          <ac:chgData name="Daniel Hamann" userId="847c405c-7417-4257-a34f-58113b877d74" providerId="ADAL" clId="{919764FA-1775-44B6-BB7D-8A0C365D0EE5}" dt="2022-04-05T09:59:29.632" v="318" actId="1076"/>
          <ac:picMkLst>
            <pc:docMk/>
            <pc:sldMk cId="911211050" sldId="430"/>
            <ac:picMk id="5" creationId="{D6C04CBF-A0D5-40C3-807A-7592D9AC61DC}"/>
          </ac:picMkLst>
        </pc:picChg>
      </pc:sldChg>
      <pc:sldChg chg="modSp add mod">
        <pc:chgData name="Daniel Hamann" userId="847c405c-7417-4257-a34f-58113b877d74" providerId="ADAL" clId="{919764FA-1775-44B6-BB7D-8A0C365D0EE5}" dt="2022-04-05T09:34:19.903" v="260" actId="20577"/>
        <pc:sldMkLst>
          <pc:docMk/>
          <pc:sldMk cId="92348239" sldId="431"/>
        </pc:sldMkLst>
        <pc:spChg chg="mod">
          <ac:chgData name="Daniel Hamann" userId="847c405c-7417-4257-a34f-58113b877d74" providerId="ADAL" clId="{919764FA-1775-44B6-BB7D-8A0C365D0EE5}" dt="2022-04-05T09:34:19.903" v="260" actId="20577"/>
          <ac:spMkLst>
            <pc:docMk/>
            <pc:sldMk cId="92348239" sldId="431"/>
            <ac:spMk id="6" creationId="{AF8EAC61-3C64-4CF2-AE56-F3913C7E7E44}"/>
          </ac:spMkLst>
        </pc:spChg>
      </pc:sldChg>
      <pc:sldChg chg="modSp add mod">
        <pc:chgData name="Daniel Hamann" userId="847c405c-7417-4257-a34f-58113b877d74" providerId="ADAL" clId="{919764FA-1775-44B6-BB7D-8A0C365D0EE5}" dt="2022-04-05T09:34:29.280" v="283" actId="20577"/>
        <pc:sldMkLst>
          <pc:docMk/>
          <pc:sldMk cId="3352904881" sldId="432"/>
        </pc:sldMkLst>
        <pc:spChg chg="mod">
          <ac:chgData name="Daniel Hamann" userId="847c405c-7417-4257-a34f-58113b877d74" providerId="ADAL" clId="{919764FA-1775-44B6-BB7D-8A0C365D0EE5}" dt="2022-04-05T09:34:29.280" v="283" actId="20577"/>
          <ac:spMkLst>
            <pc:docMk/>
            <pc:sldMk cId="3352904881" sldId="432"/>
            <ac:spMk id="6" creationId="{AF8EAC61-3C64-4CF2-AE56-F3913C7E7E44}"/>
          </ac:spMkLst>
        </pc:spChg>
      </pc:sldChg>
      <pc:sldChg chg="modSp add mod">
        <pc:chgData name="Daniel Hamann" userId="847c405c-7417-4257-a34f-58113b877d74" providerId="ADAL" clId="{919764FA-1775-44B6-BB7D-8A0C365D0EE5}" dt="2022-04-05T09:34:37.229" v="290" actId="20577"/>
        <pc:sldMkLst>
          <pc:docMk/>
          <pc:sldMk cId="3056604384" sldId="433"/>
        </pc:sldMkLst>
        <pc:spChg chg="mod">
          <ac:chgData name="Daniel Hamann" userId="847c405c-7417-4257-a34f-58113b877d74" providerId="ADAL" clId="{919764FA-1775-44B6-BB7D-8A0C365D0EE5}" dt="2022-04-05T09:34:37.229" v="290" actId="20577"/>
          <ac:spMkLst>
            <pc:docMk/>
            <pc:sldMk cId="3056604384" sldId="433"/>
            <ac:spMk id="6" creationId="{AF8EAC61-3C64-4CF2-AE56-F3913C7E7E44}"/>
          </ac:spMkLst>
        </pc:spChg>
      </pc:sldChg>
      <pc:sldChg chg="add del">
        <pc:chgData name="Daniel Hamann" userId="847c405c-7417-4257-a34f-58113b877d74" providerId="ADAL" clId="{919764FA-1775-44B6-BB7D-8A0C365D0EE5}" dt="2022-04-05T09:34:39.926" v="291" actId="2696"/>
        <pc:sldMkLst>
          <pc:docMk/>
          <pc:sldMk cId="2597808" sldId="434"/>
        </pc:sldMkLst>
      </pc:sldChg>
      <pc:sldChg chg="addSp delSp modSp add mod modAnim chgLayout">
        <pc:chgData name="Daniel Hamann" userId="847c405c-7417-4257-a34f-58113b877d74" providerId="ADAL" clId="{919764FA-1775-44B6-BB7D-8A0C365D0EE5}" dt="2022-04-05T09:38:30.264" v="311"/>
        <pc:sldMkLst>
          <pc:docMk/>
          <pc:sldMk cId="1062719980" sldId="434"/>
        </pc:sldMkLst>
        <pc:spChg chg="mod ord">
          <ac:chgData name="Daniel Hamann" userId="847c405c-7417-4257-a34f-58113b877d74" providerId="ADAL" clId="{919764FA-1775-44B6-BB7D-8A0C365D0EE5}" dt="2022-04-05T09:37:16.385" v="309" actId="700"/>
          <ac:spMkLst>
            <pc:docMk/>
            <pc:sldMk cId="1062719980" sldId="434"/>
            <ac:spMk id="3" creationId="{1F4D5F3E-D201-4C7A-9407-E39025F1533B}"/>
          </ac:spMkLst>
        </pc:spChg>
        <pc:spChg chg="add mod ord">
          <ac:chgData name="Daniel Hamann" userId="847c405c-7417-4257-a34f-58113b877d74" providerId="ADAL" clId="{919764FA-1775-44B6-BB7D-8A0C365D0EE5}" dt="2022-04-05T09:37:16.385" v="309" actId="700"/>
          <ac:spMkLst>
            <pc:docMk/>
            <pc:sldMk cId="1062719980" sldId="434"/>
            <ac:spMk id="4" creationId="{9294021A-F930-41F7-BD5C-24C1B4D74B5C}"/>
          </ac:spMkLst>
        </pc:spChg>
        <pc:spChg chg="add mod ord">
          <ac:chgData name="Daniel Hamann" userId="847c405c-7417-4257-a34f-58113b877d74" providerId="ADAL" clId="{919764FA-1775-44B6-BB7D-8A0C365D0EE5}" dt="2022-04-05T09:37:29.266" v="310" actId="1076"/>
          <ac:spMkLst>
            <pc:docMk/>
            <pc:sldMk cId="1062719980" sldId="434"/>
            <ac:spMk id="5" creationId="{DBA6B9EE-6AAF-4996-AE25-E0B3B6BEEB3F}"/>
          </ac:spMkLst>
        </pc:spChg>
        <pc:spChg chg="mod ord">
          <ac:chgData name="Daniel Hamann" userId="847c405c-7417-4257-a34f-58113b877d74" providerId="ADAL" clId="{919764FA-1775-44B6-BB7D-8A0C365D0EE5}" dt="2022-04-05T09:37:16.385" v="309" actId="700"/>
          <ac:spMkLst>
            <pc:docMk/>
            <pc:sldMk cId="1062719980" sldId="434"/>
            <ac:spMk id="6" creationId="{AF8EAC61-3C64-4CF2-AE56-F3913C7E7E44}"/>
          </ac:spMkLst>
        </pc:spChg>
        <pc:spChg chg="del">
          <ac:chgData name="Daniel Hamann" userId="847c405c-7417-4257-a34f-58113b877d74" providerId="ADAL" clId="{919764FA-1775-44B6-BB7D-8A0C365D0EE5}" dt="2022-04-05T09:37:16.385" v="309" actId="700"/>
          <ac:spMkLst>
            <pc:docMk/>
            <pc:sldMk cId="1062719980" sldId="434"/>
            <ac:spMk id="7" creationId="{D50CC3DF-8961-49F8-90D9-F547AFEE9186}"/>
          </ac:spMkLst>
        </pc:spChg>
        <pc:spChg chg="del">
          <ac:chgData name="Daniel Hamann" userId="847c405c-7417-4257-a34f-58113b877d74" providerId="ADAL" clId="{919764FA-1775-44B6-BB7D-8A0C365D0EE5}" dt="2022-04-05T09:36:30.257" v="304"/>
          <ac:spMkLst>
            <pc:docMk/>
            <pc:sldMk cId="1062719980" sldId="434"/>
            <ac:spMk id="8" creationId="{82386CFA-D341-49FB-A188-F1C1F6015781}"/>
          </ac:spMkLst>
        </pc:spChg>
        <pc:spChg chg="del">
          <ac:chgData name="Daniel Hamann" userId="847c405c-7417-4257-a34f-58113b877d74" providerId="ADAL" clId="{919764FA-1775-44B6-BB7D-8A0C365D0EE5}" dt="2022-04-05T09:37:10.564" v="308" actId="478"/>
          <ac:spMkLst>
            <pc:docMk/>
            <pc:sldMk cId="1062719980" sldId="434"/>
            <ac:spMk id="9" creationId="{D9614D97-67F5-405E-A1F8-19E97372C175}"/>
          </ac:spMkLst>
        </pc:spChg>
        <pc:spChg chg="del">
          <ac:chgData name="Daniel Hamann" userId="847c405c-7417-4257-a34f-58113b877d74" providerId="ADAL" clId="{919764FA-1775-44B6-BB7D-8A0C365D0EE5}" dt="2022-04-05T09:37:16.385" v="309" actId="700"/>
          <ac:spMkLst>
            <pc:docMk/>
            <pc:sldMk cId="1062719980" sldId="434"/>
            <ac:spMk id="10" creationId="{3F189A5D-5DEC-4792-AEEE-C61F5CAA8354}"/>
          </ac:spMkLst>
        </pc:spChg>
        <pc:spChg chg="add mod ord">
          <ac:chgData name="Daniel Hamann" userId="847c405c-7417-4257-a34f-58113b877d74" providerId="ADAL" clId="{919764FA-1775-44B6-BB7D-8A0C365D0EE5}" dt="2022-04-05T09:37:16.385" v="309" actId="700"/>
          <ac:spMkLst>
            <pc:docMk/>
            <pc:sldMk cId="1062719980" sldId="434"/>
            <ac:spMk id="11" creationId="{088BF6E9-83BC-40A3-B30D-DF1B013A8AD2}"/>
          </ac:spMkLst>
        </pc:spChg>
        <pc:picChg chg="add mod ord">
          <ac:chgData name="Daniel Hamann" userId="847c405c-7417-4257-a34f-58113b877d74" providerId="ADAL" clId="{919764FA-1775-44B6-BB7D-8A0C365D0EE5}" dt="2022-04-05T09:37:16.385" v="309" actId="700"/>
          <ac:picMkLst>
            <pc:docMk/>
            <pc:sldMk cId="1062719980" sldId="434"/>
            <ac:picMk id="2" creationId="{67D6E333-437D-4975-B487-878A0A68DF3A}"/>
          </ac:picMkLst>
        </pc:picChg>
      </pc:sldChg>
    </pc:docChg>
  </pc:docChgLst>
  <pc:docChgLst>
    <pc:chgData name="Daniel Hamann" userId="847c405c-7417-4257-a34f-58113b877d74" providerId="ADAL" clId="{1173E080-8BED-4155-9D29-857F04B3702D}"/>
    <pc:docChg chg="undo custSel addSld delSld modSld sldOrd delSection modSection">
      <pc:chgData name="Daniel Hamann" userId="847c405c-7417-4257-a34f-58113b877d74" providerId="ADAL" clId="{1173E080-8BED-4155-9D29-857F04B3702D}" dt="2022-04-13T09:16:46.429" v="3684" actId="6549"/>
      <pc:docMkLst>
        <pc:docMk/>
      </pc:docMkLst>
      <pc:sldChg chg="del">
        <pc:chgData name="Daniel Hamann" userId="847c405c-7417-4257-a34f-58113b877d74" providerId="ADAL" clId="{1173E080-8BED-4155-9D29-857F04B3702D}" dt="2022-04-12T17:06:32.941" v="1260" actId="18676"/>
        <pc:sldMkLst>
          <pc:docMk/>
          <pc:sldMk cId="947004393" sldId="336"/>
        </pc:sldMkLst>
      </pc:sldChg>
      <pc:sldChg chg="del">
        <pc:chgData name="Daniel Hamann" userId="847c405c-7417-4257-a34f-58113b877d74" providerId="ADAL" clId="{1173E080-8BED-4155-9D29-857F04B3702D}" dt="2022-04-12T17:06:32.941" v="1260" actId="18676"/>
        <pc:sldMkLst>
          <pc:docMk/>
          <pc:sldMk cId="4155269180" sldId="337"/>
        </pc:sldMkLst>
      </pc:sldChg>
      <pc:sldChg chg="del">
        <pc:chgData name="Daniel Hamann" userId="847c405c-7417-4257-a34f-58113b877d74" providerId="ADAL" clId="{1173E080-8BED-4155-9D29-857F04B3702D}" dt="2022-04-12T17:06:32.941" v="1260" actId="18676"/>
        <pc:sldMkLst>
          <pc:docMk/>
          <pc:sldMk cId="3419691827" sldId="338"/>
        </pc:sldMkLst>
      </pc:sldChg>
      <pc:sldChg chg="del">
        <pc:chgData name="Daniel Hamann" userId="847c405c-7417-4257-a34f-58113b877d74" providerId="ADAL" clId="{1173E080-8BED-4155-9D29-857F04B3702D}" dt="2022-04-12T17:06:32.941" v="1260" actId="18676"/>
        <pc:sldMkLst>
          <pc:docMk/>
          <pc:sldMk cId="3038720959" sldId="339"/>
        </pc:sldMkLst>
      </pc:sldChg>
      <pc:sldChg chg="del">
        <pc:chgData name="Daniel Hamann" userId="847c405c-7417-4257-a34f-58113b877d74" providerId="ADAL" clId="{1173E080-8BED-4155-9D29-857F04B3702D}" dt="2022-04-12T17:06:32.941" v="1260" actId="18676"/>
        <pc:sldMkLst>
          <pc:docMk/>
          <pc:sldMk cId="254456047" sldId="340"/>
        </pc:sldMkLst>
      </pc:sldChg>
      <pc:sldChg chg="del">
        <pc:chgData name="Daniel Hamann" userId="847c405c-7417-4257-a34f-58113b877d74" providerId="ADAL" clId="{1173E080-8BED-4155-9D29-857F04B3702D}" dt="2022-04-12T17:06:32.941" v="1260" actId="18676"/>
        <pc:sldMkLst>
          <pc:docMk/>
          <pc:sldMk cId="1370879864" sldId="341"/>
        </pc:sldMkLst>
      </pc:sldChg>
      <pc:sldChg chg="del">
        <pc:chgData name="Daniel Hamann" userId="847c405c-7417-4257-a34f-58113b877d74" providerId="ADAL" clId="{1173E080-8BED-4155-9D29-857F04B3702D}" dt="2022-04-12T17:06:32.941" v="1260" actId="18676"/>
        <pc:sldMkLst>
          <pc:docMk/>
          <pc:sldMk cId="684844852" sldId="343"/>
        </pc:sldMkLst>
      </pc:sldChg>
      <pc:sldChg chg="del">
        <pc:chgData name="Daniel Hamann" userId="847c405c-7417-4257-a34f-58113b877d74" providerId="ADAL" clId="{1173E080-8BED-4155-9D29-857F04B3702D}" dt="2022-04-12T17:06:32.941" v="1260" actId="18676"/>
        <pc:sldMkLst>
          <pc:docMk/>
          <pc:sldMk cId="31543976" sldId="344"/>
        </pc:sldMkLst>
      </pc:sldChg>
      <pc:sldChg chg="del">
        <pc:chgData name="Daniel Hamann" userId="847c405c-7417-4257-a34f-58113b877d74" providerId="ADAL" clId="{1173E080-8BED-4155-9D29-857F04B3702D}" dt="2022-04-12T17:06:32.941" v="1260" actId="18676"/>
        <pc:sldMkLst>
          <pc:docMk/>
          <pc:sldMk cId="1835701110" sldId="345"/>
        </pc:sldMkLst>
      </pc:sldChg>
      <pc:sldChg chg="del">
        <pc:chgData name="Daniel Hamann" userId="847c405c-7417-4257-a34f-58113b877d74" providerId="ADAL" clId="{1173E080-8BED-4155-9D29-857F04B3702D}" dt="2022-04-12T17:06:32.941" v="1260" actId="18676"/>
        <pc:sldMkLst>
          <pc:docMk/>
          <pc:sldMk cId="1524813662" sldId="346"/>
        </pc:sldMkLst>
      </pc:sldChg>
      <pc:sldChg chg="del">
        <pc:chgData name="Daniel Hamann" userId="847c405c-7417-4257-a34f-58113b877d74" providerId="ADAL" clId="{1173E080-8BED-4155-9D29-857F04B3702D}" dt="2022-04-12T17:06:32.941" v="1260" actId="18676"/>
        <pc:sldMkLst>
          <pc:docMk/>
          <pc:sldMk cId="336045514" sldId="347"/>
        </pc:sldMkLst>
      </pc:sldChg>
      <pc:sldChg chg="del">
        <pc:chgData name="Daniel Hamann" userId="847c405c-7417-4257-a34f-58113b877d74" providerId="ADAL" clId="{1173E080-8BED-4155-9D29-857F04B3702D}" dt="2022-04-12T17:06:32.941" v="1260" actId="18676"/>
        <pc:sldMkLst>
          <pc:docMk/>
          <pc:sldMk cId="3315295276" sldId="348"/>
        </pc:sldMkLst>
      </pc:sldChg>
      <pc:sldChg chg="del">
        <pc:chgData name="Daniel Hamann" userId="847c405c-7417-4257-a34f-58113b877d74" providerId="ADAL" clId="{1173E080-8BED-4155-9D29-857F04B3702D}" dt="2022-04-12T17:06:32.941" v="1260" actId="18676"/>
        <pc:sldMkLst>
          <pc:docMk/>
          <pc:sldMk cId="745662442" sldId="349"/>
        </pc:sldMkLst>
      </pc:sldChg>
      <pc:sldChg chg="del">
        <pc:chgData name="Daniel Hamann" userId="847c405c-7417-4257-a34f-58113b877d74" providerId="ADAL" clId="{1173E080-8BED-4155-9D29-857F04B3702D}" dt="2022-04-12T17:06:32.941" v="1260" actId="18676"/>
        <pc:sldMkLst>
          <pc:docMk/>
          <pc:sldMk cId="3354830306" sldId="350"/>
        </pc:sldMkLst>
      </pc:sldChg>
      <pc:sldChg chg="del">
        <pc:chgData name="Daniel Hamann" userId="847c405c-7417-4257-a34f-58113b877d74" providerId="ADAL" clId="{1173E080-8BED-4155-9D29-857F04B3702D}" dt="2022-04-12T17:06:32.941" v="1260" actId="18676"/>
        <pc:sldMkLst>
          <pc:docMk/>
          <pc:sldMk cId="1466448892" sldId="351"/>
        </pc:sldMkLst>
      </pc:sldChg>
      <pc:sldChg chg="del">
        <pc:chgData name="Daniel Hamann" userId="847c405c-7417-4257-a34f-58113b877d74" providerId="ADAL" clId="{1173E080-8BED-4155-9D29-857F04B3702D}" dt="2022-04-12T17:06:32.941" v="1260" actId="18676"/>
        <pc:sldMkLst>
          <pc:docMk/>
          <pc:sldMk cId="2704760124" sldId="352"/>
        </pc:sldMkLst>
      </pc:sldChg>
      <pc:sldChg chg="del">
        <pc:chgData name="Daniel Hamann" userId="847c405c-7417-4257-a34f-58113b877d74" providerId="ADAL" clId="{1173E080-8BED-4155-9D29-857F04B3702D}" dt="2022-04-12T17:06:32.941" v="1260" actId="18676"/>
        <pc:sldMkLst>
          <pc:docMk/>
          <pc:sldMk cId="2191268248" sldId="353"/>
        </pc:sldMkLst>
      </pc:sldChg>
      <pc:sldChg chg="del">
        <pc:chgData name="Daniel Hamann" userId="847c405c-7417-4257-a34f-58113b877d74" providerId="ADAL" clId="{1173E080-8BED-4155-9D29-857F04B3702D}" dt="2022-04-12T17:06:32.941" v="1260" actId="18676"/>
        <pc:sldMkLst>
          <pc:docMk/>
          <pc:sldMk cId="2037418230" sldId="354"/>
        </pc:sldMkLst>
      </pc:sldChg>
      <pc:sldChg chg="del">
        <pc:chgData name="Daniel Hamann" userId="847c405c-7417-4257-a34f-58113b877d74" providerId="ADAL" clId="{1173E080-8BED-4155-9D29-857F04B3702D}" dt="2022-04-12T17:06:32.941" v="1260" actId="18676"/>
        <pc:sldMkLst>
          <pc:docMk/>
          <pc:sldMk cId="302905050" sldId="355"/>
        </pc:sldMkLst>
      </pc:sldChg>
      <pc:sldChg chg="del">
        <pc:chgData name="Daniel Hamann" userId="847c405c-7417-4257-a34f-58113b877d74" providerId="ADAL" clId="{1173E080-8BED-4155-9D29-857F04B3702D}" dt="2022-04-12T17:06:32.941" v="1260" actId="18676"/>
        <pc:sldMkLst>
          <pc:docMk/>
          <pc:sldMk cId="2187347484" sldId="356"/>
        </pc:sldMkLst>
      </pc:sldChg>
      <pc:sldChg chg="del">
        <pc:chgData name="Daniel Hamann" userId="847c405c-7417-4257-a34f-58113b877d74" providerId="ADAL" clId="{1173E080-8BED-4155-9D29-857F04B3702D}" dt="2022-04-12T17:06:32.941" v="1260" actId="18676"/>
        <pc:sldMkLst>
          <pc:docMk/>
          <pc:sldMk cId="1630686082" sldId="359"/>
        </pc:sldMkLst>
      </pc:sldChg>
      <pc:sldChg chg="del">
        <pc:chgData name="Daniel Hamann" userId="847c405c-7417-4257-a34f-58113b877d74" providerId="ADAL" clId="{1173E080-8BED-4155-9D29-857F04B3702D}" dt="2022-04-12T17:06:32.941" v="1260" actId="18676"/>
        <pc:sldMkLst>
          <pc:docMk/>
          <pc:sldMk cId="4197691444" sldId="360"/>
        </pc:sldMkLst>
      </pc:sldChg>
      <pc:sldChg chg="del">
        <pc:chgData name="Daniel Hamann" userId="847c405c-7417-4257-a34f-58113b877d74" providerId="ADAL" clId="{1173E080-8BED-4155-9D29-857F04B3702D}" dt="2022-04-12T17:06:32.941" v="1260" actId="18676"/>
        <pc:sldMkLst>
          <pc:docMk/>
          <pc:sldMk cId="206669884" sldId="361"/>
        </pc:sldMkLst>
      </pc:sldChg>
      <pc:sldChg chg="del">
        <pc:chgData name="Daniel Hamann" userId="847c405c-7417-4257-a34f-58113b877d74" providerId="ADAL" clId="{1173E080-8BED-4155-9D29-857F04B3702D}" dt="2022-04-12T17:06:32.941" v="1260" actId="18676"/>
        <pc:sldMkLst>
          <pc:docMk/>
          <pc:sldMk cId="1326743884" sldId="362"/>
        </pc:sldMkLst>
      </pc:sldChg>
      <pc:sldChg chg="del">
        <pc:chgData name="Daniel Hamann" userId="847c405c-7417-4257-a34f-58113b877d74" providerId="ADAL" clId="{1173E080-8BED-4155-9D29-857F04B3702D}" dt="2022-04-12T17:06:32.941" v="1260" actId="18676"/>
        <pc:sldMkLst>
          <pc:docMk/>
          <pc:sldMk cId="19210300" sldId="363"/>
        </pc:sldMkLst>
      </pc:sldChg>
      <pc:sldChg chg="del">
        <pc:chgData name="Daniel Hamann" userId="847c405c-7417-4257-a34f-58113b877d74" providerId="ADAL" clId="{1173E080-8BED-4155-9D29-857F04B3702D}" dt="2022-04-12T17:06:32.941" v="1260" actId="18676"/>
        <pc:sldMkLst>
          <pc:docMk/>
          <pc:sldMk cId="33598816" sldId="364"/>
        </pc:sldMkLst>
      </pc:sldChg>
      <pc:sldChg chg="del">
        <pc:chgData name="Daniel Hamann" userId="847c405c-7417-4257-a34f-58113b877d74" providerId="ADAL" clId="{1173E080-8BED-4155-9D29-857F04B3702D}" dt="2022-04-12T17:06:32.941" v="1260" actId="18676"/>
        <pc:sldMkLst>
          <pc:docMk/>
          <pc:sldMk cId="1592159595" sldId="365"/>
        </pc:sldMkLst>
      </pc:sldChg>
      <pc:sldChg chg="modSp del mod">
        <pc:chgData name="Daniel Hamann" userId="847c405c-7417-4257-a34f-58113b877d74" providerId="ADAL" clId="{1173E080-8BED-4155-9D29-857F04B3702D}" dt="2022-04-13T09:15:19.311" v="3682" actId="18676"/>
        <pc:sldMkLst>
          <pc:docMk/>
          <pc:sldMk cId="3940856595" sldId="366"/>
        </pc:sldMkLst>
        <pc:picChg chg="mod">
          <ac:chgData name="Daniel Hamann" userId="847c405c-7417-4257-a34f-58113b877d74" providerId="ADAL" clId="{1173E080-8BED-4155-9D29-857F04B3702D}" dt="2022-04-13T07:54:11.598" v="1542" actId="1036"/>
          <ac:picMkLst>
            <pc:docMk/>
            <pc:sldMk cId="3940856595" sldId="366"/>
            <ac:picMk id="72" creationId="{F6FB54B9-652B-499F-85D8-FB0E9B439FF6}"/>
          </ac:picMkLst>
        </pc:picChg>
      </pc:sldChg>
      <pc:sldChg chg="del">
        <pc:chgData name="Daniel Hamann" userId="847c405c-7417-4257-a34f-58113b877d74" providerId="ADAL" clId="{1173E080-8BED-4155-9D29-857F04B3702D}" dt="2022-04-13T09:15:19.311" v="3682" actId="18676"/>
        <pc:sldMkLst>
          <pc:docMk/>
          <pc:sldMk cId="1014320215" sldId="367"/>
        </pc:sldMkLst>
      </pc:sldChg>
      <pc:sldChg chg="del">
        <pc:chgData name="Daniel Hamann" userId="847c405c-7417-4257-a34f-58113b877d74" providerId="ADAL" clId="{1173E080-8BED-4155-9D29-857F04B3702D}" dt="2022-04-13T09:15:19.311" v="3682" actId="18676"/>
        <pc:sldMkLst>
          <pc:docMk/>
          <pc:sldMk cId="874914692" sldId="368"/>
        </pc:sldMkLst>
      </pc:sldChg>
      <pc:sldChg chg="del">
        <pc:chgData name="Daniel Hamann" userId="847c405c-7417-4257-a34f-58113b877d74" providerId="ADAL" clId="{1173E080-8BED-4155-9D29-857F04B3702D}" dt="2022-04-13T09:15:19.311" v="3682" actId="18676"/>
        <pc:sldMkLst>
          <pc:docMk/>
          <pc:sldMk cId="2223883424" sldId="369"/>
        </pc:sldMkLst>
      </pc:sldChg>
      <pc:sldChg chg="del">
        <pc:chgData name="Daniel Hamann" userId="847c405c-7417-4257-a34f-58113b877d74" providerId="ADAL" clId="{1173E080-8BED-4155-9D29-857F04B3702D}" dt="2022-04-13T09:15:19.311" v="3682" actId="18676"/>
        <pc:sldMkLst>
          <pc:docMk/>
          <pc:sldMk cId="2086820258" sldId="372"/>
        </pc:sldMkLst>
      </pc:sldChg>
      <pc:sldChg chg="del">
        <pc:chgData name="Daniel Hamann" userId="847c405c-7417-4257-a34f-58113b877d74" providerId="ADAL" clId="{1173E080-8BED-4155-9D29-857F04B3702D}" dt="2022-04-13T09:15:19.311" v="3682" actId="18676"/>
        <pc:sldMkLst>
          <pc:docMk/>
          <pc:sldMk cId="1758373318" sldId="373"/>
        </pc:sldMkLst>
      </pc:sldChg>
      <pc:sldChg chg="addSp delSp modSp del mod">
        <pc:chgData name="Daniel Hamann" userId="847c405c-7417-4257-a34f-58113b877d74" providerId="ADAL" clId="{1173E080-8BED-4155-9D29-857F04B3702D}" dt="2022-04-13T09:15:19.311" v="3682" actId="18676"/>
        <pc:sldMkLst>
          <pc:docMk/>
          <pc:sldMk cId="3392096116" sldId="374"/>
        </pc:sldMkLst>
        <pc:picChg chg="add del mod">
          <ac:chgData name="Daniel Hamann" userId="847c405c-7417-4257-a34f-58113b877d74" providerId="ADAL" clId="{1173E080-8BED-4155-9D29-857F04B3702D}" dt="2022-04-13T08:05:33.337" v="1899" actId="21"/>
          <ac:picMkLst>
            <pc:docMk/>
            <pc:sldMk cId="3392096116" sldId="374"/>
            <ac:picMk id="3" creationId="{D0E8DFEC-5963-48BA-A46E-6A439261461E}"/>
          </ac:picMkLst>
        </pc:picChg>
      </pc:sldChg>
      <pc:sldChg chg="del">
        <pc:chgData name="Daniel Hamann" userId="847c405c-7417-4257-a34f-58113b877d74" providerId="ADAL" clId="{1173E080-8BED-4155-9D29-857F04B3702D}" dt="2022-04-13T09:15:19.311" v="3682" actId="18676"/>
        <pc:sldMkLst>
          <pc:docMk/>
          <pc:sldMk cId="3615068782" sldId="375"/>
        </pc:sldMkLst>
      </pc:sldChg>
      <pc:sldChg chg="del">
        <pc:chgData name="Daniel Hamann" userId="847c405c-7417-4257-a34f-58113b877d74" providerId="ADAL" clId="{1173E080-8BED-4155-9D29-857F04B3702D}" dt="2022-04-12T17:06:32.941" v="1260" actId="18676"/>
        <pc:sldMkLst>
          <pc:docMk/>
          <pc:sldMk cId="3852887038" sldId="376"/>
        </pc:sldMkLst>
      </pc:sldChg>
      <pc:sldChg chg="del">
        <pc:chgData name="Daniel Hamann" userId="847c405c-7417-4257-a34f-58113b877d74" providerId="ADAL" clId="{1173E080-8BED-4155-9D29-857F04B3702D}" dt="2022-04-12T17:06:32.941" v="1260" actId="18676"/>
        <pc:sldMkLst>
          <pc:docMk/>
          <pc:sldMk cId="2497184076" sldId="378"/>
        </pc:sldMkLst>
      </pc:sldChg>
      <pc:sldChg chg="del">
        <pc:chgData name="Daniel Hamann" userId="847c405c-7417-4257-a34f-58113b877d74" providerId="ADAL" clId="{1173E080-8BED-4155-9D29-857F04B3702D}" dt="2022-04-12T17:06:32.941" v="1260" actId="18676"/>
        <pc:sldMkLst>
          <pc:docMk/>
          <pc:sldMk cId="941330492" sldId="379"/>
        </pc:sldMkLst>
      </pc:sldChg>
      <pc:sldChg chg="del">
        <pc:chgData name="Daniel Hamann" userId="847c405c-7417-4257-a34f-58113b877d74" providerId="ADAL" clId="{1173E080-8BED-4155-9D29-857F04B3702D}" dt="2022-04-12T17:06:32.941" v="1260" actId="18676"/>
        <pc:sldMkLst>
          <pc:docMk/>
          <pc:sldMk cId="216177301" sldId="380"/>
        </pc:sldMkLst>
      </pc:sldChg>
      <pc:sldChg chg="del">
        <pc:chgData name="Daniel Hamann" userId="847c405c-7417-4257-a34f-58113b877d74" providerId="ADAL" clId="{1173E080-8BED-4155-9D29-857F04B3702D}" dt="2022-04-12T17:06:32.941" v="1260" actId="18676"/>
        <pc:sldMkLst>
          <pc:docMk/>
          <pc:sldMk cId="2169851743" sldId="382"/>
        </pc:sldMkLst>
      </pc:sldChg>
      <pc:sldChg chg="del">
        <pc:chgData name="Daniel Hamann" userId="847c405c-7417-4257-a34f-58113b877d74" providerId="ADAL" clId="{1173E080-8BED-4155-9D29-857F04B3702D}" dt="2022-04-12T17:06:32.941" v="1260" actId="18676"/>
        <pc:sldMkLst>
          <pc:docMk/>
          <pc:sldMk cId="1045533942" sldId="384"/>
        </pc:sldMkLst>
      </pc:sldChg>
      <pc:sldChg chg="del">
        <pc:chgData name="Daniel Hamann" userId="847c405c-7417-4257-a34f-58113b877d74" providerId="ADAL" clId="{1173E080-8BED-4155-9D29-857F04B3702D}" dt="2022-04-12T17:06:32.941" v="1260" actId="18676"/>
        <pc:sldMkLst>
          <pc:docMk/>
          <pc:sldMk cId="1769863677" sldId="385"/>
        </pc:sldMkLst>
      </pc:sldChg>
      <pc:sldChg chg="del">
        <pc:chgData name="Daniel Hamann" userId="847c405c-7417-4257-a34f-58113b877d74" providerId="ADAL" clId="{1173E080-8BED-4155-9D29-857F04B3702D}" dt="2022-04-12T17:06:32.941" v="1260" actId="18676"/>
        <pc:sldMkLst>
          <pc:docMk/>
          <pc:sldMk cId="904502109" sldId="386"/>
        </pc:sldMkLst>
      </pc:sldChg>
      <pc:sldChg chg="del">
        <pc:chgData name="Daniel Hamann" userId="847c405c-7417-4257-a34f-58113b877d74" providerId="ADAL" clId="{1173E080-8BED-4155-9D29-857F04B3702D}" dt="2022-04-12T17:06:32.941" v="1260" actId="18676"/>
        <pc:sldMkLst>
          <pc:docMk/>
          <pc:sldMk cId="1181553170" sldId="387"/>
        </pc:sldMkLst>
      </pc:sldChg>
      <pc:sldChg chg="del">
        <pc:chgData name="Daniel Hamann" userId="847c405c-7417-4257-a34f-58113b877d74" providerId="ADAL" clId="{1173E080-8BED-4155-9D29-857F04B3702D}" dt="2022-04-12T17:06:32.941" v="1260" actId="18676"/>
        <pc:sldMkLst>
          <pc:docMk/>
          <pc:sldMk cId="2311678989" sldId="388"/>
        </pc:sldMkLst>
      </pc:sldChg>
      <pc:sldChg chg="del">
        <pc:chgData name="Daniel Hamann" userId="847c405c-7417-4257-a34f-58113b877d74" providerId="ADAL" clId="{1173E080-8BED-4155-9D29-857F04B3702D}" dt="2022-04-12T17:06:32.941" v="1260" actId="18676"/>
        <pc:sldMkLst>
          <pc:docMk/>
          <pc:sldMk cId="1686671835" sldId="389"/>
        </pc:sldMkLst>
      </pc:sldChg>
      <pc:sldChg chg="del">
        <pc:chgData name="Daniel Hamann" userId="847c405c-7417-4257-a34f-58113b877d74" providerId="ADAL" clId="{1173E080-8BED-4155-9D29-857F04B3702D}" dt="2022-04-12T17:06:32.941" v="1260" actId="18676"/>
        <pc:sldMkLst>
          <pc:docMk/>
          <pc:sldMk cId="590577401" sldId="391"/>
        </pc:sldMkLst>
      </pc:sldChg>
      <pc:sldChg chg="del">
        <pc:chgData name="Daniel Hamann" userId="847c405c-7417-4257-a34f-58113b877d74" providerId="ADAL" clId="{1173E080-8BED-4155-9D29-857F04B3702D}" dt="2022-04-12T17:06:32.941" v="1260" actId="18676"/>
        <pc:sldMkLst>
          <pc:docMk/>
          <pc:sldMk cId="2824741347" sldId="422"/>
        </pc:sldMkLst>
      </pc:sldChg>
      <pc:sldChg chg="del">
        <pc:chgData name="Daniel Hamann" userId="847c405c-7417-4257-a34f-58113b877d74" providerId="ADAL" clId="{1173E080-8BED-4155-9D29-857F04B3702D}" dt="2022-04-12T17:06:32.941" v="1260" actId="18676"/>
        <pc:sldMkLst>
          <pc:docMk/>
          <pc:sldMk cId="737801744" sldId="424"/>
        </pc:sldMkLst>
      </pc:sldChg>
      <pc:sldChg chg="modSp mod">
        <pc:chgData name="Daniel Hamann" userId="847c405c-7417-4257-a34f-58113b877d74" providerId="ADAL" clId="{1173E080-8BED-4155-9D29-857F04B3702D}" dt="2022-04-13T08:42:04.060" v="2633" actId="20577"/>
        <pc:sldMkLst>
          <pc:docMk/>
          <pc:sldMk cId="3808728708" sldId="426"/>
        </pc:sldMkLst>
        <pc:spChg chg="mod">
          <ac:chgData name="Daniel Hamann" userId="847c405c-7417-4257-a34f-58113b877d74" providerId="ADAL" clId="{1173E080-8BED-4155-9D29-857F04B3702D}" dt="2022-04-13T08:42:04.060" v="2633" actId="20577"/>
          <ac:spMkLst>
            <pc:docMk/>
            <pc:sldMk cId="3808728708" sldId="426"/>
            <ac:spMk id="13" creationId="{62B6EAAC-0294-4866-B44D-C1EFE7ACA4E5}"/>
          </ac:spMkLst>
        </pc:spChg>
      </pc:sldChg>
      <pc:sldChg chg="addSp delSp modSp del mod modClrScheme chgLayout">
        <pc:chgData name="Daniel Hamann" userId="847c405c-7417-4257-a34f-58113b877d74" providerId="ADAL" clId="{1173E080-8BED-4155-9D29-857F04B3702D}" dt="2022-04-12T16:33:34.558" v="66" actId="47"/>
        <pc:sldMkLst>
          <pc:docMk/>
          <pc:sldMk cId="3406666726" sldId="428"/>
        </pc:sldMkLst>
        <pc:spChg chg="add del mod ord">
          <ac:chgData name="Daniel Hamann" userId="847c405c-7417-4257-a34f-58113b877d74" providerId="ADAL" clId="{1173E080-8BED-4155-9D29-857F04B3702D}" dt="2022-04-12T16:32:56.333" v="60" actId="700"/>
          <ac:spMkLst>
            <pc:docMk/>
            <pc:sldMk cId="3406666726" sldId="428"/>
            <ac:spMk id="2" creationId="{756C78EF-20D9-405F-A01C-65C5F69498B9}"/>
          </ac:spMkLst>
        </pc:spChg>
        <pc:spChg chg="mod ord">
          <ac:chgData name="Daniel Hamann" userId="847c405c-7417-4257-a34f-58113b877d74" providerId="ADAL" clId="{1173E080-8BED-4155-9D29-857F04B3702D}" dt="2022-04-12T16:32:56.333" v="60" actId="700"/>
          <ac:spMkLst>
            <pc:docMk/>
            <pc:sldMk cId="3406666726" sldId="428"/>
            <ac:spMk id="3" creationId="{1F4D5F3E-D201-4C7A-9407-E39025F1533B}"/>
          </ac:spMkLst>
        </pc:spChg>
        <pc:spChg chg="add del mod ord">
          <ac:chgData name="Daniel Hamann" userId="847c405c-7417-4257-a34f-58113b877d74" providerId="ADAL" clId="{1173E080-8BED-4155-9D29-857F04B3702D}" dt="2022-04-12T16:31:08.628" v="29" actId="931"/>
          <ac:spMkLst>
            <pc:docMk/>
            <pc:sldMk cId="3406666726" sldId="428"/>
            <ac:spMk id="4" creationId="{4B13A4BE-44F7-4719-B0C8-95F492862B16}"/>
          </ac:spMkLst>
        </pc:spChg>
        <pc:spChg chg="add del mod ord">
          <ac:chgData name="Daniel Hamann" userId="847c405c-7417-4257-a34f-58113b877d74" providerId="ADAL" clId="{1173E080-8BED-4155-9D29-857F04B3702D}" dt="2022-04-12T16:32:56.333" v="60" actId="700"/>
          <ac:spMkLst>
            <pc:docMk/>
            <pc:sldMk cId="3406666726" sldId="428"/>
            <ac:spMk id="5" creationId="{7725A124-4402-45CD-B376-1F724E256166}"/>
          </ac:spMkLst>
        </pc:spChg>
        <pc:spChg chg="mod ord">
          <ac:chgData name="Daniel Hamann" userId="847c405c-7417-4257-a34f-58113b877d74" providerId="ADAL" clId="{1173E080-8BED-4155-9D29-857F04B3702D}" dt="2022-04-12T16:32:56.333" v="60" actId="700"/>
          <ac:spMkLst>
            <pc:docMk/>
            <pc:sldMk cId="3406666726" sldId="428"/>
            <ac:spMk id="6" creationId="{AF8EAC61-3C64-4CF2-AE56-F3913C7E7E44}"/>
          </ac:spMkLst>
        </pc:spChg>
        <pc:spChg chg="del mod ord">
          <ac:chgData name="Daniel Hamann" userId="847c405c-7417-4257-a34f-58113b877d74" providerId="ADAL" clId="{1173E080-8BED-4155-9D29-857F04B3702D}" dt="2022-04-12T16:29:09.378" v="6" actId="700"/>
          <ac:spMkLst>
            <pc:docMk/>
            <pc:sldMk cId="3406666726" sldId="428"/>
            <ac:spMk id="7" creationId="{D50CC3DF-8961-49F8-90D9-F547AFEE9186}"/>
          </ac:spMkLst>
        </pc:spChg>
        <pc:spChg chg="del mod ord">
          <ac:chgData name="Daniel Hamann" userId="847c405c-7417-4257-a34f-58113b877d74" providerId="ADAL" clId="{1173E080-8BED-4155-9D29-857F04B3702D}" dt="2022-04-12T16:29:09.378" v="6" actId="700"/>
          <ac:spMkLst>
            <pc:docMk/>
            <pc:sldMk cId="3406666726" sldId="428"/>
            <ac:spMk id="8" creationId="{82386CFA-D341-49FB-A188-F1C1F6015781}"/>
          </ac:spMkLst>
        </pc:spChg>
        <pc:spChg chg="del mod ord">
          <ac:chgData name="Daniel Hamann" userId="847c405c-7417-4257-a34f-58113b877d74" providerId="ADAL" clId="{1173E080-8BED-4155-9D29-857F04B3702D}" dt="2022-04-12T16:29:09.378" v="6" actId="700"/>
          <ac:spMkLst>
            <pc:docMk/>
            <pc:sldMk cId="3406666726" sldId="428"/>
            <ac:spMk id="9" creationId="{D9614D97-67F5-405E-A1F8-19E97372C175}"/>
          </ac:spMkLst>
        </pc:spChg>
        <pc:spChg chg="del mod ord">
          <ac:chgData name="Daniel Hamann" userId="847c405c-7417-4257-a34f-58113b877d74" providerId="ADAL" clId="{1173E080-8BED-4155-9D29-857F04B3702D}" dt="2022-04-12T16:29:09.378" v="6" actId="700"/>
          <ac:spMkLst>
            <pc:docMk/>
            <pc:sldMk cId="3406666726" sldId="428"/>
            <ac:spMk id="10" creationId="{3F189A5D-5DEC-4792-AEEE-C61F5CAA8354}"/>
          </ac:spMkLst>
        </pc:spChg>
        <pc:spChg chg="add del mod ord">
          <ac:chgData name="Daniel Hamann" userId="847c405c-7417-4257-a34f-58113b877d74" providerId="ADAL" clId="{1173E080-8BED-4155-9D29-857F04B3702D}" dt="2022-04-12T16:31:08.628" v="29" actId="931"/>
          <ac:spMkLst>
            <pc:docMk/>
            <pc:sldMk cId="3406666726" sldId="428"/>
            <ac:spMk id="11" creationId="{5F0E19C7-0A2F-460D-B3C1-FB20EB21DBD8}"/>
          </ac:spMkLst>
        </pc:spChg>
        <pc:spChg chg="add mod">
          <ac:chgData name="Daniel Hamann" userId="847c405c-7417-4257-a34f-58113b877d74" providerId="ADAL" clId="{1173E080-8BED-4155-9D29-857F04B3702D}" dt="2022-04-12T16:30:27.826" v="23" actId="14100"/>
          <ac:spMkLst>
            <pc:docMk/>
            <pc:sldMk cId="3406666726" sldId="428"/>
            <ac:spMk id="14" creationId="{143EFC17-A595-4CD7-92F6-0CF0DC05E35E}"/>
          </ac:spMkLst>
        </pc:spChg>
        <pc:spChg chg="add mod">
          <ac:chgData name="Daniel Hamann" userId="847c405c-7417-4257-a34f-58113b877d74" providerId="ADAL" clId="{1173E080-8BED-4155-9D29-857F04B3702D}" dt="2022-04-12T16:30:38.727" v="26" actId="14100"/>
          <ac:spMkLst>
            <pc:docMk/>
            <pc:sldMk cId="3406666726" sldId="428"/>
            <ac:spMk id="15" creationId="{B4786FE9-DBAC-4B79-876D-2607CC67221B}"/>
          </ac:spMkLst>
        </pc:spChg>
        <pc:spChg chg="add del">
          <ac:chgData name="Daniel Hamann" userId="847c405c-7417-4257-a34f-58113b877d74" providerId="ADAL" clId="{1173E080-8BED-4155-9D29-857F04B3702D}" dt="2022-04-12T16:30:50.086" v="28" actId="478"/>
          <ac:spMkLst>
            <pc:docMk/>
            <pc:sldMk cId="3406666726" sldId="428"/>
            <ac:spMk id="16" creationId="{19CE34EE-803A-47CA-A4C9-FEC5558013F4}"/>
          </ac:spMkLst>
        </pc:spChg>
        <pc:spChg chg="add del mod ord">
          <ac:chgData name="Daniel Hamann" userId="847c405c-7417-4257-a34f-58113b877d74" providerId="ADAL" clId="{1173E080-8BED-4155-9D29-857F04B3702D}" dt="2022-04-12T16:32:12.648" v="54" actId="700"/>
          <ac:spMkLst>
            <pc:docMk/>
            <pc:sldMk cId="3406666726" sldId="428"/>
            <ac:spMk id="21" creationId="{85D9123D-F295-4795-923E-F1EB7952576E}"/>
          </ac:spMkLst>
        </pc:spChg>
        <pc:spChg chg="add del mod ord">
          <ac:chgData name="Daniel Hamann" userId="847c405c-7417-4257-a34f-58113b877d74" providerId="ADAL" clId="{1173E080-8BED-4155-9D29-857F04B3702D}" dt="2022-04-12T16:32:12.648" v="54" actId="700"/>
          <ac:spMkLst>
            <pc:docMk/>
            <pc:sldMk cId="3406666726" sldId="428"/>
            <ac:spMk id="22" creationId="{05E39489-ADD9-4399-B804-942C281F46C7}"/>
          </ac:spMkLst>
        </pc:spChg>
        <pc:spChg chg="add del mod">
          <ac:chgData name="Daniel Hamann" userId="847c405c-7417-4257-a34f-58113b877d74" providerId="ADAL" clId="{1173E080-8BED-4155-9D29-857F04B3702D}" dt="2022-04-12T16:32:50.429" v="59" actId="478"/>
          <ac:spMkLst>
            <pc:docMk/>
            <pc:sldMk cId="3406666726" sldId="428"/>
            <ac:spMk id="24" creationId="{E97DA6ED-1BDC-4372-A32E-B0BB923A4D6F}"/>
          </ac:spMkLst>
        </pc:spChg>
        <pc:spChg chg="add mod ord">
          <ac:chgData name="Daniel Hamann" userId="847c405c-7417-4257-a34f-58113b877d74" providerId="ADAL" clId="{1173E080-8BED-4155-9D29-857F04B3702D}" dt="2022-04-12T16:32:56.333" v="60" actId="700"/>
          <ac:spMkLst>
            <pc:docMk/>
            <pc:sldMk cId="3406666726" sldId="428"/>
            <ac:spMk id="25" creationId="{803A5C7F-D11B-4029-B815-B5DB40DBD142}"/>
          </ac:spMkLst>
        </pc:spChg>
        <pc:spChg chg="add mod ord">
          <ac:chgData name="Daniel Hamann" userId="847c405c-7417-4257-a34f-58113b877d74" providerId="ADAL" clId="{1173E080-8BED-4155-9D29-857F04B3702D}" dt="2022-04-12T16:32:56.333" v="60" actId="700"/>
          <ac:spMkLst>
            <pc:docMk/>
            <pc:sldMk cId="3406666726" sldId="428"/>
            <ac:spMk id="26" creationId="{907DD6CA-2176-4B44-994E-960C0105EF4B}"/>
          </ac:spMkLst>
        </pc:spChg>
        <pc:spChg chg="add mod ord">
          <ac:chgData name="Daniel Hamann" userId="847c405c-7417-4257-a34f-58113b877d74" providerId="ADAL" clId="{1173E080-8BED-4155-9D29-857F04B3702D}" dt="2022-04-12T16:32:56.333" v="60" actId="700"/>
          <ac:spMkLst>
            <pc:docMk/>
            <pc:sldMk cId="3406666726" sldId="428"/>
            <ac:spMk id="27" creationId="{6657F00E-0826-45C8-98BA-8CD0F4CBAEE3}"/>
          </ac:spMkLst>
        </pc:spChg>
        <pc:picChg chg="add mod modCrop">
          <ac:chgData name="Daniel Hamann" userId="847c405c-7417-4257-a34f-58113b877d74" providerId="ADAL" clId="{1173E080-8BED-4155-9D29-857F04B3702D}" dt="2022-04-12T16:32:49.577" v="58" actId="1076"/>
          <ac:picMkLst>
            <pc:docMk/>
            <pc:sldMk cId="3406666726" sldId="428"/>
            <ac:picMk id="13" creationId="{4B153504-D708-4875-BBD1-9DE43976BB00}"/>
          </ac:picMkLst>
        </pc:picChg>
        <pc:picChg chg="add del mod ord modCrop">
          <ac:chgData name="Daniel Hamann" userId="847c405c-7417-4257-a34f-58113b877d74" providerId="ADAL" clId="{1173E080-8BED-4155-9D29-857F04B3702D}" dt="2022-04-12T16:32:47.642" v="57" actId="478"/>
          <ac:picMkLst>
            <pc:docMk/>
            <pc:sldMk cId="3406666726" sldId="428"/>
            <ac:picMk id="18" creationId="{EEAC010A-35DD-4AA0-9152-7DC989AC0AE5}"/>
          </ac:picMkLst>
        </pc:picChg>
        <pc:picChg chg="add mod ord">
          <ac:chgData name="Daniel Hamann" userId="847c405c-7417-4257-a34f-58113b877d74" providerId="ADAL" clId="{1173E080-8BED-4155-9D29-857F04B3702D}" dt="2022-04-12T16:32:56.333" v="60" actId="700"/>
          <ac:picMkLst>
            <pc:docMk/>
            <pc:sldMk cId="3406666726" sldId="428"/>
            <ac:picMk id="20" creationId="{88C3A9C0-45FA-4DF1-A9AA-FB6D80A409E5}"/>
          </ac:picMkLst>
        </pc:picChg>
      </pc:sldChg>
      <pc:sldChg chg="addSp delSp modSp mod">
        <pc:chgData name="Daniel Hamann" userId="847c405c-7417-4257-a34f-58113b877d74" providerId="ADAL" clId="{1173E080-8BED-4155-9D29-857F04B3702D}" dt="2022-04-13T08:50:34.484" v="3415" actId="478"/>
        <pc:sldMkLst>
          <pc:docMk/>
          <pc:sldMk cId="2201740257" sldId="429"/>
        </pc:sldMkLst>
        <pc:spChg chg="add del mod">
          <ac:chgData name="Daniel Hamann" userId="847c405c-7417-4257-a34f-58113b877d74" providerId="ADAL" clId="{1173E080-8BED-4155-9D29-857F04B3702D}" dt="2022-04-13T08:50:34.484" v="3415" actId="478"/>
          <ac:spMkLst>
            <pc:docMk/>
            <pc:sldMk cId="2201740257" sldId="429"/>
            <ac:spMk id="3" creationId="{8D46098B-9EF6-42A4-BB3F-C432160A7102}"/>
          </ac:spMkLst>
        </pc:spChg>
        <pc:spChg chg="add del mod">
          <ac:chgData name="Daniel Hamann" userId="847c405c-7417-4257-a34f-58113b877d74" providerId="ADAL" clId="{1173E080-8BED-4155-9D29-857F04B3702D}" dt="2022-04-13T08:50:34.484" v="3415" actId="478"/>
          <ac:spMkLst>
            <pc:docMk/>
            <pc:sldMk cId="2201740257" sldId="429"/>
            <ac:spMk id="5" creationId="{6E663C3C-F0A6-4235-9389-654BA315B108}"/>
          </ac:spMkLst>
        </pc:spChg>
        <pc:spChg chg="mod">
          <ac:chgData name="Daniel Hamann" userId="847c405c-7417-4257-a34f-58113b877d74" providerId="ADAL" clId="{1173E080-8BED-4155-9D29-857F04B3702D}" dt="2022-04-13T08:49:36.654" v="3390" actId="20577"/>
          <ac:spMkLst>
            <pc:docMk/>
            <pc:sldMk cId="2201740257" sldId="429"/>
            <ac:spMk id="6" creationId="{8A12327F-1131-482D-954E-894DEC9EF3F1}"/>
          </ac:spMkLst>
        </pc:spChg>
        <pc:spChg chg="add del mod">
          <ac:chgData name="Daniel Hamann" userId="847c405c-7417-4257-a34f-58113b877d74" providerId="ADAL" clId="{1173E080-8BED-4155-9D29-857F04B3702D}" dt="2022-04-13T08:50:34.484" v="3415" actId="478"/>
          <ac:spMkLst>
            <pc:docMk/>
            <pc:sldMk cId="2201740257" sldId="429"/>
            <ac:spMk id="8" creationId="{A42BE15D-2436-4EB8-922F-2CABEC3C5569}"/>
          </ac:spMkLst>
        </pc:spChg>
        <pc:spChg chg="add del mod">
          <ac:chgData name="Daniel Hamann" userId="847c405c-7417-4257-a34f-58113b877d74" providerId="ADAL" clId="{1173E080-8BED-4155-9D29-857F04B3702D}" dt="2022-04-13T08:50:34.484" v="3415" actId="478"/>
          <ac:spMkLst>
            <pc:docMk/>
            <pc:sldMk cId="2201740257" sldId="429"/>
            <ac:spMk id="10" creationId="{18859451-09C2-403E-9549-6398CD23B103}"/>
          </ac:spMkLst>
        </pc:spChg>
        <pc:spChg chg="del">
          <ac:chgData name="Daniel Hamann" userId="847c405c-7417-4257-a34f-58113b877d74" providerId="ADAL" clId="{1173E080-8BED-4155-9D29-857F04B3702D}" dt="2022-04-13T08:50:29.418" v="3413" actId="478"/>
          <ac:spMkLst>
            <pc:docMk/>
            <pc:sldMk cId="2201740257" sldId="429"/>
            <ac:spMk id="33" creationId="{263113CB-4CD9-44E3-ABA2-180A4AC766D6}"/>
          </ac:spMkLst>
        </pc:spChg>
        <pc:spChg chg="del">
          <ac:chgData name="Daniel Hamann" userId="847c405c-7417-4257-a34f-58113b877d74" providerId="ADAL" clId="{1173E080-8BED-4155-9D29-857F04B3702D}" dt="2022-04-13T08:50:29.418" v="3413" actId="478"/>
          <ac:spMkLst>
            <pc:docMk/>
            <pc:sldMk cId="2201740257" sldId="429"/>
            <ac:spMk id="40" creationId="{E96176A8-49A1-4A98-B344-E18E879717A3}"/>
          </ac:spMkLst>
        </pc:spChg>
        <pc:spChg chg="mod">
          <ac:chgData name="Daniel Hamann" userId="847c405c-7417-4257-a34f-58113b877d74" providerId="ADAL" clId="{1173E080-8BED-4155-9D29-857F04B3702D}" dt="2022-04-13T08:49:33.937" v="3389" actId="20577"/>
          <ac:spMkLst>
            <pc:docMk/>
            <pc:sldMk cId="2201740257" sldId="429"/>
            <ac:spMk id="45" creationId="{0B1198CB-D12B-421A-93D0-8C56312E30F4}"/>
          </ac:spMkLst>
        </pc:spChg>
        <pc:spChg chg="mod">
          <ac:chgData name="Daniel Hamann" userId="847c405c-7417-4257-a34f-58113b877d74" providerId="ADAL" clId="{1173E080-8BED-4155-9D29-857F04B3702D}" dt="2022-04-13T08:49:47.152" v="3392" actId="20577"/>
          <ac:spMkLst>
            <pc:docMk/>
            <pc:sldMk cId="2201740257" sldId="429"/>
            <ac:spMk id="178" creationId="{40361B5C-04EA-40A9-91E2-5E0D03850F04}"/>
          </ac:spMkLst>
        </pc:spChg>
        <pc:spChg chg="mod">
          <ac:chgData name="Daniel Hamann" userId="847c405c-7417-4257-a34f-58113b877d74" providerId="ADAL" clId="{1173E080-8BED-4155-9D29-857F04B3702D}" dt="2022-04-13T08:50:10.224" v="3404" actId="20577"/>
          <ac:spMkLst>
            <pc:docMk/>
            <pc:sldMk cId="2201740257" sldId="429"/>
            <ac:spMk id="181" creationId="{860FD97A-601C-4FF7-936B-96E8AE407F72}"/>
          </ac:spMkLst>
        </pc:spChg>
        <pc:spChg chg="del">
          <ac:chgData name="Daniel Hamann" userId="847c405c-7417-4257-a34f-58113b877d74" providerId="ADAL" clId="{1173E080-8BED-4155-9D29-857F04B3702D}" dt="2022-04-13T08:50:29.418" v="3413" actId="478"/>
          <ac:spMkLst>
            <pc:docMk/>
            <pc:sldMk cId="2201740257" sldId="429"/>
            <ac:spMk id="184" creationId="{F57A899F-DDD4-49AB-B9FC-0358D18E82DF}"/>
          </ac:spMkLst>
        </pc:spChg>
        <pc:spChg chg="del">
          <ac:chgData name="Daniel Hamann" userId="847c405c-7417-4257-a34f-58113b877d74" providerId="ADAL" clId="{1173E080-8BED-4155-9D29-857F04B3702D}" dt="2022-04-13T08:50:31.947" v="3414" actId="478"/>
          <ac:spMkLst>
            <pc:docMk/>
            <pc:sldMk cId="2201740257" sldId="429"/>
            <ac:spMk id="185" creationId="{1136CD69-C074-465E-B9C4-D5F64CE0B09B}"/>
          </ac:spMkLst>
        </pc:spChg>
        <pc:spChg chg="mod">
          <ac:chgData name="Daniel Hamann" userId="847c405c-7417-4257-a34f-58113b877d74" providerId="ADAL" clId="{1173E080-8BED-4155-9D29-857F04B3702D}" dt="2022-04-13T08:50:24.379" v="3408" actId="20577"/>
          <ac:spMkLst>
            <pc:docMk/>
            <pc:sldMk cId="2201740257" sldId="429"/>
            <ac:spMk id="190" creationId="{6F267383-00ED-4749-BF8E-39A206F44ECD}"/>
          </ac:spMkLst>
        </pc:spChg>
        <pc:spChg chg="mod">
          <ac:chgData name="Daniel Hamann" userId="847c405c-7417-4257-a34f-58113b877d74" providerId="ADAL" clId="{1173E080-8BED-4155-9D29-857F04B3702D}" dt="2022-04-13T08:49:54.940" v="3396" actId="20577"/>
          <ac:spMkLst>
            <pc:docMk/>
            <pc:sldMk cId="2201740257" sldId="429"/>
            <ac:spMk id="196" creationId="{F068C355-A96C-4C36-9999-28C52C3EF347}"/>
          </ac:spMkLst>
        </pc:spChg>
        <pc:spChg chg="mod">
          <ac:chgData name="Daniel Hamann" userId="847c405c-7417-4257-a34f-58113b877d74" providerId="ADAL" clId="{1173E080-8BED-4155-9D29-857F04B3702D}" dt="2022-04-13T08:50:02.268" v="3400" actId="20577"/>
          <ac:spMkLst>
            <pc:docMk/>
            <pc:sldMk cId="2201740257" sldId="429"/>
            <ac:spMk id="199" creationId="{CE9AE38D-0ABC-461C-B845-C82DACD60B92}"/>
          </ac:spMkLst>
        </pc:spChg>
        <pc:spChg chg="mod">
          <ac:chgData name="Daniel Hamann" userId="847c405c-7417-4257-a34f-58113b877d74" providerId="ADAL" clId="{1173E080-8BED-4155-9D29-857F04B3702D}" dt="2022-04-13T08:50:26.464" v="3412" actId="20577"/>
          <ac:spMkLst>
            <pc:docMk/>
            <pc:sldMk cId="2201740257" sldId="429"/>
            <ac:spMk id="202" creationId="{F69CD99C-670E-4658-B02C-1E7E62DDFD77}"/>
          </ac:spMkLst>
        </pc:spChg>
        <pc:spChg chg="del">
          <ac:chgData name="Daniel Hamann" userId="847c405c-7417-4257-a34f-58113b877d74" providerId="ADAL" clId="{1173E080-8BED-4155-9D29-857F04B3702D}" dt="2022-04-13T08:50:29.418" v="3413" actId="478"/>
          <ac:spMkLst>
            <pc:docMk/>
            <pc:sldMk cId="2201740257" sldId="429"/>
            <ac:spMk id="205" creationId="{AAD21B5D-A139-4009-AB75-BA9E4F6C4C10}"/>
          </ac:spMkLst>
        </pc:spChg>
        <pc:spChg chg="del">
          <ac:chgData name="Daniel Hamann" userId="847c405c-7417-4257-a34f-58113b877d74" providerId="ADAL" clId="{1173E080-8BED-4155-9D29-857F04B3702D}" dt="2022-04-13T08:50:31.947" v="3414" actId="478"/>
          <ac:spMkLst>
            <pc:docMk/>
            <pc:sldMk cId="2201740257" sldId="429"/>
            <ac:spMk id="206" creationId="{15F811F0-37F3-4874-9FC1-865B6871A749}"/>
          </ac:spMkLst>
        </pc:spChg>
      </pc:sldChg>
      <pc:sldChg chg="addSp delSp modSp add del mod modClrScheme addAnim delAnim modAnim chgLayout">
        <pc:chgData name="Daniel Hamann" userId="847c405c-7417-4257-a34f-58113b877d74" providerId="ADAL" clId="{1173E080-8BED-4155-9D29-857F04B3702D}" dt="2022-04-12T16:56:03.521" v="649" actId="47"/>
        <pc:sldMkLst>
          <pc:docMk/>
          <pc:sldMk cId="911211050" sldId="430"/>
        </pc:sldMkLst>
        <pc:spChg chg="mod ord">
          <ac:chgData name="Daniel Hamann" userId="847c405c-7417-4257-a34f-58113b877d74" providerId="ADAL" clId="{1173E080-8BED-4155-9D29-857F04B3702D}" dt="2022-04-12T16:54:38.870" v="619" actId="700"/>
          <ac:spMkLst>
            <pc:docMk/>
            <pc:sldMk cId="911211050" sldId="430"/>
            <ac:spMk id="3" creationId="{1F4D5F3E-D201-4C7A-9407-E39025F1533B}"/>
          </ac:spMkLst>
        </pc:spChg>
        <pc:spChg chg="mod ord">
          <ac:chgData name="Daniel Hamann" userId="847c405c-7417-4257-a34f-58113b877d74" providerId="ADAL" clId="{1173E080-8BED-4155-9D29-857F04B3702D}" dt="2022-04-12T16:54:38.870" v="619" actId="700"/>
          <ac:spMkLst>
            <pc:docMk/>
            <pc:sldMk cId="911211050" sldId="430"/>
            <ac:spMk id="6" creationId="{AF8EAC61-3C64-4CF2-AE56-F3913C7E7E44}"/>
          </ac:spMkLst>
        </pc:spChg>
        <pc:spChg chg="add del mod ord">
          <ac:chgData name="Daniel Hamann" userId="847c405c-7417-4257-a34f-58113b877d74" providerId="ADAL" clId="{1173E080-8BED-4155-9D29-857F04B3702D}" dt="2022-04-12T16:54:38.870" v="619" actId="700"/>
          <ac:spMkLst>
            <pc:docMk/>
            <pc:sldMk cId="911211050" sldId="430"/>
            <ac:spMk id="7" creationId="{D50CC3DF-8961-49F8-90D9-F547AFEE9186}"/>
          </ac:spMkLst>
        </pc:spChg>
        <pc:spChg chg="add del mod">
          <ac:chgData name="Daniel Hamann" userId="847c405c-7417-4257-a34f-58113b877d74" providerId="ADAL" clId="{1173E080-8BED-4155-9D29-857F04B3702D}" dt="2022-04-12T16:53:34.252" v="612" actId="478"/>
          <ac:spMkLst>
            <pc:docMk/>
            <pc:sldMk cId="911211050" sldId="430"/>
            <ac:spMk id="8" creationId="{A61FA92E-F62E-4376-9179-51ABBDE068DD}"/>
          </ac:spMkLst>
        </pc:spChg>
        <pc:spChg chg="del mod">
          <ac:chgData name="Daniel Hamann" userId="847c405c-7417-4257-a34f-58113b877d74" providerId="ADAL" clId="{1173E080-8BED-4155-9D29-857F04B3702D}" dt="2022-04-12T16:53:32.358" v="610" actId="478"/>
          <ac:spMkLst>
            <pc:docMk/>
            <pc:sldMk cId="911211050" sldId="430"/>
            <ac:spMk id="9" creationId="{D9614D97-67F5-405E-A1F8-19E97372C175}"/>
          </ac:spMkLst>
        </pc:spChg>
        <pc:spChg chg="del mod ord">
          <ac:chgData name="Daniel Hamann" userId="847c405c-7417-4257-a34f-58113b877d74" providerId="ADAL" clId="{1173E080-8BED-4155-9D29-857F04B3702D}" dt="2022-04-12T16:54:38.870" v="619" actId="700"/>
          <ac:spMkLst>
            <pc:docMk/>
            <pc:sldMk cId="911211050" sldId="430"/>
            <ac:spMk id="10" creationId="{3F189A5D-5DEC-4792-AEEE-C61F5CAA8354}"/>
          </ac:spMkLst>
        </pc:spChg>
        <pc:spChg chg="add del mod">
          <ac:chgData name="Daniel Hamann" userId="847c405c-7417-4257-a34f-58113b877d74" providerId="ADAL" clId="{1173E080-8BED-4155-9D29-857F04B3702D}" dt="2022-04-12T16:54:32.875" v="617"/>
          <ac:spMkLst>
            <pc:docMk/>
            <pc:sldMk cId="911211050" sldId="430"/>
            <ac:spMk id="12" creationId="{05C95237-BE8C-40A4-8093-CB063F224E6C}"/>
          </ac:spMkLst>
        </pc:spChg>
        <pc:spChg chg="add mod ord">
          <ac:chgData name="Daniel Hamann" userId="847c405c-7417-4257-a34f-58113b877d74" providerId="ADAL" clId="{1173E080-8BED-4155-9D29-857F04B3702D}" dt="2022-04-12T16:54:38.870" v="619" actId="700"/>
          <ac:spMkLst>
            <pc:docMk/>
            <pc:sldMk cId="911211050" sldId="430"/>
            <ac:spMk id="14" creationId="{64AE2DE8-970A-455B-AED4-BC5215A8628B}"/>
          </ac:spMkLst>
        </pc:spChg>
        <pc:spChg chg="add mod ord">
          <ac:chgData name="Daniel Hamann" userId="847c405c-7417-4257-a34f-58113b877d74" providerId="ADAL" clId="{1173E080-8BED-4155-9D29-857F04B3702D}" dt="2022-04-12T16:54:38.870" v="619" actId="700"/>
          <ac:spMkLst>
            <pc:docMk/>
            <pc:sldMk cId="911211050" sldId="430"/>
            <ac:spMk id="15" creationId="{DD9CCBC6-A105-40F0-BAD1-951586BE0399}"/>
          </ac:spMkLst>
        </pc:spChg>
        <pc:spChg chg="add del mod ord">
          <ac:chgData name="Daniel Hamann" userId="847c405c-7417-4257-a34f-58113b877d74" providerId="ADAL" clId="{1173E080-8BED-4155-9D29-857F04B3702D}" dt="2022-04-12T16:54:41.960" v="621" actId="478"/>
          <ac:spMkLst>
            <pc:docMk/>
            <pc:sldMk cId="911211050" sldId="430"/>
            <ac:spMk id="16" creationId="{C6C9B37C-C5B6-434B-89E7-05CB010EE490}"/>
          </ac:spMkLst>
        </pc:spChg>
        <pc:spChg chg="add mod">
          <ac:chgData name="Daniel Hamann" userId="847c405c-7417-4257-a34f-58113b877d74" providerId="ADAL" clId="{1173E080-8BED-4155-9D29-857F04B3702D}" dt="2022-04-12T16:55:54.524" v="645" actId="478"/>
          <ac:spMkLst>
            <pc:docMk/>
            <pc:sldMk cId="911211050" sldId="430"/>
            <ac:spMk id="18" creationId="{B78161F5-F38D-4D9B-8DEC-1921B8FC753F}"/>
          </ac:spMkLst>
        </pc:spChg>
        <pc:picChg chg="add del mod">
          <ac:chgData name="Daniel Hamann" userId="847c405c-7417-4257-a34f-58113b877d74" providerId="ADAL" clId="{1173E080-8BED-4155-9D29-857F04B3702D}" dt="2022-04-12T16:56:02.267" v="648" actId="21"/>
          <ac:picMkLst>
            <pc:docMk/>
            <pc:sldMk cId="911211050" sldId="430"/>
            <ac:picMk id="4" creationId="{1728B4A4-854F-45C9-8EBC-B6CEF0CED966}"/>
          </ac:picMkLst>
        </pc:picChg>
        <pc:picChg chg="add del">
          <ac:chgData name="Daniel Hamann" userId="847c405c-7417-4257-a34f-58113b877d74" providerId="ADAL" clId="{1173E080-8BED-4155-9D29-857F04B3702D}" dt="2022-04-12T16:54:28.382" v="616" actId="478"/>
          <ac:picMkLst>
            <pc:docMk/>
            <pc:sldMk cId="911211050" sldId="430"/>
            <ac:picMk id="5" creationId="{D6C04CBF-A0D5-40C3-807A-7592D9AC61DC}"/>
          </ac:picMkLst>
        </pc:picChg>
        <pc:picChg chg="add del mod ord">
          <ac:chgData name="Daniel Hamann" userId="847c405c-7417-4257-a34f-58113b877d74" providerId="ADAL" clId="{1173E080-8BED-4155-9D29-857F04B3702D}" dt="2022-04-12T16:55:54.524" v="645" actId="478"/>
          <ac:picMkLst>
            <pc:docMk/>
            <pc:sldMk cId="911211050" sldId="430"/>
            <ac:picMk id="13" creationId="{01CE8CA3-E752-4B3E-8D12-C46F1CE08C1E}"/>
          </ac:picMkLst>
        </pc:picChg>
      </pc:sldChg>
      <pc:sldChg chg="addSp delSp modSp mod modClrScheme delAnim modAnim chgLayout">
        <pc:chgData name="Daniel Hamann" userId="847c405c-7417-4257-a34f-58113b877d74" providerId="ADAL" clId="{1173E080-8BED-4155-9D29-857F04B3702D}" dt="2022-04-13T09:14:57.294" v="3681" actId="1076"/>
        <pc:sldMkLst>
          <pc:docMk/>
          <pc:sldMk cId="92348239" sldId="431"/>
        </pc:sldMkLst>
        <pc:spChg chg="add mod ord">
          <ac:chgData name="Daniel Hamann" userId="847c405c-7417-4257-a34f-58113b877d74" providerId="ADAL" clId="{1173E080-8BED-4155-9D29-857F04B3702D}" dt="2022-04-12T17:08:32.701" v="1276" actId="700"/>
          <ac:spMkLst>
            <pc:docMk/>
            <pc:sldMk cId="92348239" sldId="431"/>
            <ac:spMk id="2" creationId="{7D2624EE-312B-491A-B5B5-4DAF904153A5}"/>
          </ac:spMkLst>
        </pc:spChg>
        <pc:spChg chg="mod ord">
          <ac:chgData name="Daniel Hamann" userId="847c405c-7417-4257-a34f-58113b877d74" providerId="ADAL" clId="{1173E080-8BED-4155-9D29-857F04B3702D}" dt="2022-04-12T17:08:32.701" v="1276" actId="700"/>
          <ac:spMkLst>
            <pc:docMk/>
            <pc:sldMk cId="92348239" sldId="431"/>
            <ac:spMk id="3" creationId="{1F4D5F3E-D201-4C7A-9407-E39025F1533B}"/>
          </ac:spMkLst>
        </pc:spChg>
        <pc:spChg chg="add del mod ord">
          <ac:chgData name="Daniel Hamann" userId="847c405c-7417-4257-a34f-58113b877d74" providerId="ADAL" clId="{1173E080-8BED-4155-9D29-857F04B3702D}" dt="2022-04-13T07:52:40.628" v="1533" actId="931"/>
          <ac:spMkLst>
            <pc:docMk/>
            <pc:sldMk cId="92348239" sldId="431"/>
            <ac:spMk id="4" creationId="{D8847D70-44AA-4990-BC31-6408F317C97E}"/>
          </ac:spMkLst>
        </pc:spChg>
        <pc:spChg chg="add mod ord">
          <ac:chgData name="Daniel Hamann" userId="847c405c-7417-4257-a34f-58113b877d74" providerId="ADAL" clId="{1173E080-8BED-4155-9D29-857F04B3702D}" dt="2022-04-12T17:08:32.701" v="1276" actId="700"/>
          <ac:spMkLst>
            <pc:docMk/>
            <pc:sldMk cId="92348239" sldId="431"/>
            <ac:spMk id="5" creationId="{5A0F852B-65A8-4E23-B4D7-541885AE377A}"/>
          </ac:spMkLst>
        </pc:spChg>
        <pc:spChg chg="mod ord">
          <ac:chgData name="Daniel Hamann" userId="847c405c-7417-4257-a34f-58113b877d74" providerId="ADAL" clId="{1173E080-8BED-4155-9D29-857F04B3702D}" dt="2022-04-12T17:08:32.701" v="1276" actId="700"/>
          <ac:spMkLst>
            <pc:docMk/>
            <pc:sldMk cId="92348239" sldId="431"/>
            <ac:spMk id="6" creationId="{AF8EAC61-3C64-4CF2-AE56-F3913C7E7E44}"/>
          </ac:spMkLst>
        </pc:spChg>
        <pc:spChg chg="del mod ord">
          <ac:chgData name="Daniel Hamann" userId="847c405c-7417-4257-a34f-58113b877d74" providerId="ADAL" clId="{1173E080-8BED-4155-9D29-857F04B3702D}" dt="2022-04-12T17:08:32.701" v="1276" actId="700"/>
          <ac:spMkLst>
            <pc:docMk/>
            <pc:sldMk cId="92348239" sldId="431"/>
            <ac:spMk id="7" creationId="{D50CC3DF-8961-49F8-90D9-F547AFEE9186}"/>
          </ac:spMkLst>
        </pc:spChg>
        <pc:spChg chg="del mod ord">
          <ac:chgData name="Daniel Hamann" userId="847c405c-7417-4257-a34f-58113b877d74" providerId="ADAL" clId="{1173E080-8BED-4155-9D29-857F04B3702D}" dt="2022-04-12T17:08:32.701" v="1276" actId="700"/>
          <ac:spMkLst>
            <pc:docMk/>
            <pc:sldMk cId="92348239" sldId="431"/>
            <ac:spMk id="8" creationId="{82386CFA-D341-49FB-A188-F1C1F6015781}"/>
          </ac:spMkLst>
        </pc:spChg>
        <pc:spChg chg="del mod ord">
          <ac:chgData name="Daniel Hamann" userId="847c405c-7417-4257-a34f-58113b877d74" providerId="ADAL" clId="{1173E080-8BED-4155-9D29-857F04B3702D}" dt="2022-04-12T17:08:32.701" v="1276" actId="700"/>
          <ac:spMkLst>
            <pc:docMk/>
            <pc:sldMk cId="92348239" sldId="431"/>
            <ac:spMk id="9" creationId="{D9614D97-67F5-405E-A1F8-19E97372C175}"/>
          </ac:spMkLst>
        </pc:spChg>
        <pc:spChg chg="del mod ord">
          <ac:chgData name="Daniel Hamann" userId="847c405c-7417-4257-a34f-58113b877d74" providerId="ADAL" clId="{1173E080-8BED-4155-9D29-857F04B3702D}" dt="2022-04-12T17:08:32.701" v="1276" actId="700"/>
          <ac:spMkLst>
            <pc:docMk/>
            <pc:sldMk cId="92348239" sldId="431"/>
            <ac:spMk id="10" creationId="{3F189A5D-5DEC-4792-AEEE-C61F5CAA8354}"/>
          </ac:spMkLst>
        </pc:spChg>
        <pc:spChg chg="add del mod ord">
          <ac:chgData name="Daniel Hamann" userId="847c405c-7417-4257-a34f-58113b877d74" providerId="ADAL" clId="{1173E080-8BED-4155-9D29-857F04B3702D}" dt="2022-04-13T07:48:58.507" v="1311" actId="478"/>
          <ac:spMkLst>
            <pc:docMk/>
            <pc:sldMk cId="92348239" sldId="431"/>
            <ac:spMk id="11" creationId="{C9105A20-B5BD-469D-A407-80F5AE01F1DF}"/>
          </ac:spMkLst>
        </pc:spChg>
        <pc:spChg chg="add mod">
          <ac:chgData name="Daniel Hamann" userId="847c405c-7417-4257-a34f-58113b877d74" providerId="ADAL" clId="{1173E080-8BED-4155-9D29-857F04B3702D}" dt="2022-04-13T08:04:28.216" v="1836"/>
          <ac:spMkLst>
            <pc:docMk/>
            <pc:sldMk cId="92348239" sldId="431"/>
            <ac:spMk id="18" creationId="{17C33E37-888C-48DF-A0F8-20C0E9065EAE}"/>
          </ac:spMkLst>
        </pc:spChg>
        <pc:spChg chg="add mod ord">
          <ac:chgData name="Daniel Hamann" userId="847c405c-7417-4257-a34f-58113b877d74" providerId="ADAL" clId="{1173E080-8BED-4155-9D29-857F04B3702D}" dt="2022-04-13T09:14:57.294" v="3681" actId="1076"/>
          <ac:spMkLst>
            <pc:docMk/>
            <pc:sldMk cId="92348239" sldId="431"/>
            <ac:spMk id="20" creationId="{C7794D61-63AC-4272-9EE6-C544F00F785F}"/>
          </ac:spMkLst>
        </pc:spChg>
        <pc:picChg chg="add mod">
          <ac:chgData name="Daniel Hamann" userId="847c405c-7417-4257-a34f-58113b877d74" providerId="ADAL" clId="{1173E080-8BED-4155-9D29-857F04B3702D}" dt="2022-04-13T07:48:45.270" v="1306"/>
          <ac:picMkLst>
            <pc:docMk/>
            <pc:sldMk cId="92348239" sldId="431"/>
            <ac:picMk id="12" creationId="{0433F1F6-8DE1-429C-B005-52D786F19E16}"/>
          </ac:picMkLst>
        </pc:picChg>
        <pc:picChg chg="add del mod">
          <ac:chgData name="Daniel Hamann" userId="847c405c-7417-4257-a34f-58113b877d74" providerId="ADAL" clId="{1173E080-8BED-4155-9D29-857F04B3702D}" dt="2022-04-13T09:02:15.766" v="3663" actId="478"/>
          <ac:picMkLst>
            <pc:docMk/>
            <pc:sldMk cId="92348239" sldId="431"/>
            <ac:picMk id="13" creationId="{0400C425-88CB-4C08-B157-634E101C4B2B}"/>
          </ac:picMkLst>
        </pc:picChg>
        <pc:picChg chg="add del mod">
          <ac:chgData name="Daniel Hamann" userId="847c405c-7417-4257-a34f-58113b877d74" providerId="ADAL" clId="{1173E080-8BED-4155-9D29-857F04B3702D}" dt="2022-04-13T08:05:58.477" v="1906" actId="478"/>
          <ac:picMkLst>
            <pc:docMk/>
            <pc:sldMk cId="92348239" sldId="431"/>
            <ac:picMk id="14" creationId="{7C9AF4EE-C81C-4008-B80D-AB4A898C2312}"/>
          </ac:picMkLst>
        </pc:picChg>
        <pc:picChg chg="add del mod ord">
          <ac:chgData name="Daniel Hamann" userId="847c405c-7417-4257-a34f-58113b877d74" providerId="ADAL" clId="{1173E080-8BED-4155-9D29-857F04B3702D}" dt="2022-04-13T07:52:51.830" v="1537" actId="21"/>
          <ac:picMkLst>
            <pc:docMk/>
            <pc:sldMk cId="92348239" sldId="431"/>
            <ac:picMk id="16" creationId="{CB52C231-9DE1-411E-A2E3-ED7FD777119D}"/>
          </ac:picMkLst>
        </pc:picChg>
        <pc:picChg chg="add mod ord">
          <ac:chgData name="Daniel Hamann" userId="847c405c-7417-4257-a34f-58113b877d74" providerId="ADAL" clId="{1173E080-8BED-4155-9D29-857F04B3702D}" dt="2022-04-13T09:14:57.294" v="3681" actId="1076"/>
          <ac:picMkLst>
            <pc:docMk/>
            <pc:sldMk cId="92348239" sldId="431"/>
            <ac:picMk id="19" creationId="{E5E90D08-76CF-4E9B-A772-DBEE9BA9FFC0}"/>
          </ac:picMkLst>
        </pc:picChg>
        <pc:picChg chg="add del mod">
          <ac:chgData name="Daniel Hamann" userId="847c405c-7417-4257-a34f-58113b877d74" providerId="ADAL" clId="{1173E080-8BED-4155-9D29-857F04B3702D}" dt="2022-04-13T09:13:29.964" v="3673" actId="478"/>
          <ac:picMkLst>
            <pc:docMk/>
            <pc:sldMk cId="92348239" sldId="431"/>
            <ac:picMk id="21" creationId="{4F563532-9E50-46B3-86AA-AA78D5F2D66C}"/>
          </ac:picMkLst>
        </pc:picChg>
        <pc:picChg chg="add mod">
          <ac:chgData name="Daniel Hamann" userId="847c405c-7417-4257-a34f-58113b877d74" providerId="ADAL" clId="{1173E080-8BED-4155-9D29-857F04B3702D}" dt="2022-04-13T09:13:48.249" v="3679" actId="1076"/>
          <ac:picMkLst>
            <pc:docMk/>
            <pc:sldMk cId="92348239" sldId="431"/>
            <ac:picMk id="22" creationId="{9A48D0E3-8A02-4DF6-9152-D3A076636EE9}"/>
          </ac:picMkLst>
        </pc:picChg>
      </pc:sldChg>
      <pc:sldChg chg="addSp delSp modSp mod modClrScheme delAnim modAnim chgLayout">
        <pc:chgData name="Daniel Hamann" userId="847c405c-7417-4257-a34f-58113b877d74" providerId="ADAL" clId="{1173E080-8BED-4155-9D29-857F04B3702D}" dt="2022-04-13T08:19:34.421" v="2182" actId="20577"/>
        <pc:sldMkLst>
          <pc:docMk/>
          <pc:sldMk cId="3352904881" sldId="432"/>
        </pc:sldMkLst>
        <pc:spChg chg="mod ord">
          <ac:chgData name="Daniel Hamann" userId="847c405c-7417-4257-a34f-58113b877d74" providerId="ADAL" clId="{1173E080-8BED-4155-9D29-857F04B3702D}" dt="2022-04-13T08:18:18.192" v="2076" actId="700"/>
          <ac:spMkLst>
            <pc:docMk/>
            <pc:sldMk cId="3352904881" sldId="432"/>
            <ac:spMk id="3" creationId="{1F4D5F3E-D201-4C7A-9407-E39025F1533B}"/>
          </ac:spMkLst>
        </pc:spChg>
        <pc:spChg chg="add del mod ord">
          <ac:chgData name="Daniel Hamann" userId="847c405c-7417-4257-a34f-58113b877d74" providerId="ADAL" clId="{1173E080-8BED-4155-9D29-857F04B3702D}" dt="2022-04-13T08:18:18.192" v="2076" actId="700"/>
          <ac:spMkLst>
            <pc:docMk/>
            <pc:sldMk cId="3352904881" sldId="432"/>
            <ac:spMk id="5" creationId="{74055DCB-0D3C-414E-970A-187825D4BD06}"/>
          </ac:spMkLst>
        </pc:spChg>
        <pc:spChg chg="mod ord">
          <ac:chgData name="Daniel Hamann" userId="847c405c-7417-4257-a34f-58113b877d74" providerId="ADAL" clId="{1173E080-8BED-4155-9D29-857F04B3702D}" dt="2022-04-13T08:18:18.192" v="2076" actId="700"/>
          <ac:spMkLst>
            <pc:docMk/>
            <pc:sldMk cId="3352904881" sldId="432"/>
            <ac:spMk id="6" creationId="{AF8EAC61-3C64-4CF2-AE56-F3913C7E7E44}"/>
          </ac:spMkLst>
        </pc:spChg>
        <pc:spChg chg="del mod ord">
          <ac:chgData name="Daniel Hamann" userId="847c405c-7417-4257-a34f-58113b877d74" providerId="ADAL" clId="{1173E080-8BED-4155-9D29-857F04B3702D}" dt="2022-04-13T08:18:18.192" v="2076" actId="700"/>
          <ac:spMkLst>
            <pc:docMk/>
            <pc:sldMk cId="3352904881" sldId="432"/>
            <ac:spMk id="7" creationId="{D50CC3DF-8961-49F8-90D9-F547AFEE9186}"/>
          </ac:spMkLst>
        </pc:spChg>
        <pc:spChg chg="del">
          <ac:chgData name="Daniel Hamann" userId="847c405c-7417-4257-a34f-58113b877d74" providerId="ADAL" clId="{1173E080-8BED-4155-9D29-857F04B3702D}" dt="2022-04-13T07:48:51.256" v="1307"/>
          <ac:spMkLst>
            <pc:docMk/>
            <pc:sldMk cId="3352904881" sldId="432"/>
            <ac:spMk id="8" creationId="{82386CFA-D341-49FB-A188-F1C1F6015781}"/>
          </ac:spMkLst>
        </pc:spChg>
        <pc:spChg chg="del mod ord">
          <ac:chgData name="Daniel Hamann" userId="847c405c-7417-4257-a34f-58113b877d74" providerId="ADAL" clId="{1173E080-8BED-4155-9D29-857F04B3702D}" dt="2022-04-13T08:18:18.192" v="2076" actId="700"/>
          <ac:spMkLst>
            <pc:docMk/>
            <pc:sldMk cId="3352904881" sldId="432"/>
            <ac:spMk id="9" creationId="{D9614D97-67F5-405E-A1F8-19E97372C175}"/>
          </ac:spMkLst>
        </pc:spChg>
        <pc:spChg chg="del mod ord">
          <ac:chgData name="Daniel Hamann" userId="847c405c-7417-4257-a34f-58113b877d74" providerId="ADAL" clId="{1173E080-8BED-4155-9D29-857F04B3702D}" dt="2022-04-13T08:18:18.192" v="2076" actId="700"/>
          <ac:spMkLst>
            <pc:docMk/>
            <pc:sldMk cId="3352904881" sldId="432"/>
            <ac:spMk id="10" creationId="{3F189A5D-5DEC-4792-AEEE-C61F5CAA8354}"/>
          </ac:spMkLst>
        </pc:spChg>
        <pc:spChg chg="add mod ord">
          <ac:chgData name="Daniel Hamann" userId="847c405c-7417-4257-a34f-58113b877d74" providerId="ADAL" clId="{1173E080-8BED-4155-9D29-857F04B3702D}" dt="2022-04-13T08:18:18.192" v="2076" actId="700"/>
          <ac:spMkLst>
            <pc:docMk/>
            <pc:sldMk cId="3352904881" sldId="432"/>
            <ac:spMk id="15" creationId="{11E0AD8F-85E6-446B-BD51-9E437A807078}"/>
          </ac:spMkLst>
        </pc:spChg>
        <pc:spChg chg="add mod ord">
          <ac:chgData name="Daniel Hamann" userId="847c405c-7417-4257-a34f-58113b877d74" providerId="ADAL" clId="{1173E080-8BED-4155-9D29-857F04B3702D}" dt="2022-04-13T08:19:34.421" v="2182" actId="20577"/>
          <ac:spMkLst>
            <pc:docMk/>
            <pc:sldMk cId="3352904881" sldId="432"/>
            <ac:spMk id="16" creationId="{786AFAA1-DAF9-4DC1-9A48-7743203B54F0}"/>
          </ac:spMkLst>
        </pc:spChg>
        <pc:spChg chg="add mod ord">
          <ac:chgData name="Daniel Hamann" userId="847c405c-7417-4257-a34f-58113b877d74" providerId="ADAL" clId="{1173E080-8BED-4155-9D29-857F04B3702D}" dt="2022-04-13T08:18:18.192" v="2076" actId="700"/>
          <ac:spMkLst>
            <pc:docMk/>
            <pc:sldMk cId="3352904881" sldId="432"/>
            <ac:spMk id="17" creationId="{5151A77E-0615-42E0-A8E6-C7456E33C18F}"/>
          </ac:spMkLst>
        </pc:spChg>
        <pc:spChg chg="add del mod ord">
          <ac:chgData name="Daniel Hamann" userId="847c405c-7417-4257-a34f-58113b877d74" providerId="ADAL" clId="{1173E080-8BED-4155-9D29-857F04B3702D}" dt="2022-04-13T08:18:39.544" v="2082" actId="478"/>
          <ac:spMkLst>
            <pc:docMk/>
            <pc:sldMk cId="3352904881" sldId="432"/>
            <ac:spMk id="18" creationId="{BC42FA48-C4FD-417B-9B8D-4ED443665700}"/>
          </ac:spMkLst>
        </pc:spChg>
        <pc:picChg chg="add del mod">
          <ac:chgData name="Daniel Hamann" userId="847c405c-7417-4257-a34f-58113b877d74" providerId="ADAL" clId="{1173E080-8BED-4155-9D29-857F04B3702D}" dt="2022-04-13T07:48:52.668" v="1308" actId="21"/>
          <ac:picMkLst>
            <pc:docMk/>
            <pc:sldMk cId="3352904881" sldId="432"/>
            <ac:picMk id="2" creationId="{04E827BB-3615-4C19-BC17-D868DB85BA86}"/>
          </ac:picMkLst>
        </pc:picChg>
        <pc:picChg chg="add del">
          <ac:chgData name="Daniel Hamann" userId="847c405c-7417-4257-a34f-58113b877d74" providerId="ADAL" clId="{1173E080-8BED-4155-9D29-857F04B3702D}" dt="2022-04-13T08:12:51.544" v="1938" actId="21"/>
          <ac:picMkLst>
            <pc:docMk/>
            <pc:sldMk cId="3352904881" sldId="432"/>
            <ac:picMk id="12" creationId="{52816A62-BA4C-44EF-9A7C-5CEBCB660128}"/>
          </ac:picMkLst>
        </pc:picChg>
        <pc:picChg chg="add del mod">
          <ac:chgData name="Daniel Hamann" userId="847c405c-7417-4257-a34f-58113b877d74" providerId="ADAL" clId="{1173E080-8BED-4155-9D29-857F04B3702D}" dt="2022-04-13T08:18:12.975" v="2075" actId="21"/>
          <ac:picMkLst>
            <pc:docMk/>
            <pc:sldMk cId="3352904881" sldId="432"/>
            <ac:picMk id="14" creationId="{455408C9-BA0B-421E-8FAF-E3590CE53B6D}"/>
          </ac:picMkLst>
        </pc:picChg>
        <pc:picChg chg="add mod modCrop">
          <ac:chgData name="Daniel Hamann" userId="847c405c-7417-4257-a34f-58113b877d74" providerId="ADAL" clId="{1173E080-8BED-4155-9D29-857F04B3702D}" dt="2022-04-13T08:18:56.773" v="2087" actId="732"/>
          <ac:picMkLst>
            <pc:docMk/>
            <pc:sldMk cId="3352904881" sldId="432"/>
            <ac:picMk id="19" creationId="{EAA87EAA-2BD1-4D08-BE51-E34012AB0960}"/>
          </ac:picMkLst>
        </pc:picChg>
      </pc:sldChg>
      <pc:sldChg chg="addSp delSp modSp mod modClrScheme chgLayout">
        <pc:chgData name="Daniel Hamann" userId="847c405c-7417-4257-a34f-58113b877d74" providerId="ADAL" clId="{1173E080-8BED-4155-9D29-857F04B3702D}" dt="2022-04-13T08:39:55.921" v="2630" actId="20577"/>
        <pc:sldMkLst>
          <pc:docMk/>
          <pc:sldMk cId="3056604384" sldId="433"/>
        </pc:sldMkLst>
        <pc:spChg chg="add mod ord">
          <ac:chgData name="Daniel Hamann" userId="847c405c-7417-4257-a34f-58113b877d74" providerId="ADAL" clId="{1173E080-8BED-4155-9D29-857F04B3702D}" dt="2022-04-13T08:12:56.609" v="1940" actId="700"/>
          <ac:spMkLst>
            <pc:docMk/>
            <pc:sldMk cId="3056604384" sldId="433"/>
            <ac:spMk id="2" creationId="{3CED2827-C425-4AB4-95AA-C3E1C7A5F3CF}"/>
          </ac:spMkLst>
        </pc:spChg>
        <pc:spChg chg="mod ord">
          <ac:chgData name="Daniel Hamann" userId="847c405c-7417-4257-a34f-58113b877d74" providerId="ADAL" clId="{1173E080-8BED-4155-9D29-857F04B3702D}" dt="2022-04-13T08:12:56.609" v="1940" actId="700"/>
          <ac:spMkLst>
            <pc:docMk/>
            <pc:sldMk cId="3056604384" sldId="433"/>
            <ac:spMk id="3" creationId="{1F4D5F3E-D201-4C7A-9407-E39025F1533B}"/>
          </ac:spMkLst>
        </pc:spChg>
        <pc:spChg chg="add mod ord">
          <ac:chgData name="Daniel Hamann" userId="847c405c-7417-4257-a34f-58113b877d74" providerId="ADAL" clId="{1173E080-8BED-4155-9D29-857F04B3702D}" dt="2022-04-13T08:39:02.865" v="2614" actId="20577"/>
          <ac:spMkLst>
            <pc:docMk/>
            <pc:sldMk cId="3056604384" sldId="433"/>
            <ac:spMk id="4" creationId="{AF59C985-5B95-4F74-BD37-B00B7B77AE54}"/>
          </ac:spMkLst>
        </pc:spChg>
        <pc:spChg chg="add mod ord">
          <ac:chgData name="Daniel Hamann" userId="847c405c-7417-4257-a34f-58113b877d74" providerId="ADAL" clId="{1173E080-8BED-4155-9D29-857F04B3702D}" dt="2022-04-13T08:12:56.609" v="1940" actId="700"/>
          <ac:spMkLst>
            <pc:docMk/>
            <pc:sldMk cId="3056604384" sldId="433"/>
            <ac:spMk id="5" creationId="{BBD0CBB6-DE83-46EA-8053-E3915423D04D}"/>
          </ac:spMkLst>
        </pc:spChg>
        <pc:spChg chg="mod ord">
          <ac:chgData name="Daniel Hamann" userId="847c405c-7417-4257-a34f-58113b877d74" providerId="ADAL" clId="{1173E080-8BED-4155-9D29-857F04B3702D}" dt="2022-04-13T08:12:56.609" v="1940" actId="700"/>
          <ac:spMkLst>
            <pc:docMk/>
            <pc:sldMk cId="3056604384" sldId="433"/>
            <ac:spMk id="6" creationId="{AF8EAC61-3C64-4CF2-AE56-F3913C7E7E44}"/>
          </ac:spMkLst>
        </pc:spChg>
        <pc:spChg chg="del mod ord">
          <ac:chgData name="Daniel Hamann" userId="847c405c-7417-4257-a34f-58113b877d74" providerId="ADAL" clId="{1173E080-8BED-4155-9D29-857F04B3702D}" dt="2022-04-13T08:12:56.609" v="1940" actId="700"/>
          <ac:spMkLst>
            <pc:docMk/>
            <pc:sldMk cId="3056604384" sldId="433"/>
            <ac:spMk id="7" creationId="{D50CC3DF-8961-49F8-90D9-F547AFEE9186}"/>
          </ac:spMkLst>
        </pc:spChg>
        <pc:spChg chg="del mod ord">
          <ac:chgData name="Daniel Hamann" userId="847c405c-7417-4257-a34f-58113b877d74" providerId="ADAL" clId="{1173E080-8BED-4155-9D29-857F04B3702D}" dt="2022-04-13T08:12:56.609" v="1940" actId="700"/>
          <ac:spMkLst>
            <pc:docMk/>
            <pc:sldMk cId="3056604384" sldId="433"/>
            <ac:spMk id="8" creationId="{82386CFA-D341-49FB-A188-F1C1F6015781}"/>
          </ac:spMkLst>
        </pc:spChg>
        <pc:spChg chg="del mod ord">
          <ac:chgData name="Daniel Hamann" userId="847c405c-7417-4257-a34f-58113b877d74" providerId="ADAL" clId="{1173E080-8BED-4155-9D29-857F04B3702D}" dt="2022-04-13T08:12:56.609" v="1940" actId="700"/>
          <ac:spMkLst>
            <pc:docMk/>
            <pc:sldMk cId="3056604384" sldId="433"/>
            <ac:spMk id="9" creationId="{D9614D97-67F5-405E-A1F8-19E97372C175}"/>
          </ac:spMkLst>
        </pc:spChg>
        <pc:spChg chg="del mod ord">
          <ac:chgData name="Daniel Hamann" userId="847c405c-7417-4257-a34f-58113b877d74" providerId="ADAL" clId="{1173E080-8BED-4155-9D29-857F04B3702D}" dt="2022-04-13T08:12:56.609" v="1940" actId="700"/>
          <ac:spMkLst>
            <pc:docMk/>
            <pc:sldMk cId="3056604384" sldId="433"/>
            <ac:spMk id="10" creationId="{3F189A5D-5DEC-4792-AEEE-C61F5CAA8354}"/>
          </ac:spMkLst>
        </pc:spChg>
        <pc:spChg chg="add del mod ord">
          <ac:chgData name="Daniel Hamann" userId="847c405c-7417-4257-a34f-58113b877d74" providerId="ADAL" clId="{1173E080-8BED-4155-9D29-857F04B3702D}" dt="2022-04-13T08:13:02.728" v="1943" actId="478"/>
          <ac:spMkLst>
            <pc:docMk/>
            <pc:sldMk cId="3056604384" sldId="433"/>
            <ac:spMk id="12" creationId="{C138CB7B-7169-4C14-868E-8C1B926776B4}"/>
          </ac:spMkLst>
        </pc:spChg>
        <pc:spChg chg="add mod">
          <ac:chgData name="Daniel Hamann" userId="847c405c-7417-4257-a34f-58113b877d74" providerId="ADAL" clId="{1173E080-8BED-4155-9D29-857F04B3702D}" dt="2022-04-13T08:29:03.325" v="2584" actId="1076"/>
          <ac:spMkLst>
            <pc:docMk/>
            <pc:sldMk cId="3056604384" sldId="433"/>
            <ac:spMk id="13" creationId="{7828E0FC-C9A0-454E-866D-195EF47C0373}"/>
          </ac:spMkLst>
        </pc:spChg>
        <pc:spChg chg="add mod">
          <ac:chgData name="Daniel Hamann" userId="847c405c-7417-4257-a34f-58113b877d74" providerId="ADAL" clId="{1173E080-8BED-4155-9D29-857F04B3702D}" dt="2022-04-13T08:39:06.793" v="2616" actId="20577"/>
          <ac:spMkLst>
            <pc:docMk/>
            <pc:sldMk cId="3056604384" sldId="433"/>
            <ac:spMk id="14" creationId="{929EC83A-1D87-463D-A9F4-53F0E6278731}"/>
          </ac:spMkLst>
        </pc:spChg>
        <pc:spChg chg="add mod">
          <ac:chgData name="Daniel Hamann" userId="847c405c-7417-4257-a34f-58113b877d74" providerId="ADAL" clId="{1173E080-8BED-4155-9D29-857F04B3702D}" dt="2022-04-13T08:27:22.589" v="2397" actId="14100"/>
          <ac:spMkLst>
            <pc:docMk/>
            <pc:sldMk cId="3056604384" sldId="433"/>
            <ac:spMk id="18" creationId="{EFCAE295-F3AC-4532-953F-571DBD24D608}"/>
          </ac:spMkLst>
        </pc:spChg>
        <pc:spChg chg="add mod">
          <ac:chgData name="Daniel Hamann" userId="847c405c-7417-4257-a34f-58113b877d74" providerId="ADAL" clId="{1173E080-8BED-4155-9D29-857F04B3702D}" dt="2022-04-13T08:39:29.202" v="2620" actId="14100"/>
          <ac:spMkLst>
            <pc:docMk/>
            <pc:sldMk cId="3056604384" sldId="433"/>
            <ac:spMk id="22" creationId="{B5123976-0EAD-4CFD-B5D3-93ACDB2D9699}"/>
          </ac:spMkLst>
        </pc:spChg>
        <pc:spChg chg="add mod">
          <ac:chgData name="Daniel Hamann" userId="847c405c-7417-4257-a34f-58113b877d74" providerId="ADAL" clId="{1173E080-8BED-4155-9D29-857F04B3702D}" dt="2022-04-13T08:39:53.400" v="2628" actId="20577"/>
          <ac:spMkLst>
            <pc:docMk/>
            <pc:sldMk cId="3056604384" sldId="433"/>
            <ac:spMk id="23" creationId="{92BB7BD7-2B44-4D93-983D-F0ADE7BD3B04}"/>
          </ac:spMkLst>
        </pc:spChg>
        <pc:spChg chg="add mod">
          <ac:chgData name="Daniel Hamann" userId="847c405c-7417-4257-a34f-58113b877d74" providerId="ADAL" clId="{1173E080-8BED-4155-9D29-857F04B3702D}" dt="2022-04-13T08:39:41.937" v="2623" actId="14100"/>
          <ac:spMkLst>
            <pc:docMk/>
            <pc:sldMk cId="3056604384" sldId="433"/>
            <ac:spMk id="24" creationId="{A47DA54A-E5D4-48FA-9EE3-CDDE622544ED}"/>
          </ac:spMkLst>
        </pc:spChg>
        <pc:spChg chg="add mod">
          <ac:chgData name="Daniel Hamann" userId="847c405c-7417-4257-a34f-58113b877d74" providerId="ADAL" clId="{1173E080-8BED-4155-9D29-857F04B3702D}" dt="2022-04-13T08:39:55.921" v="2630" actId="20577"/>
          <ac:spMkLst>
            <pc:docMk/>
            <pc:sldMk cId="3056604384" sldId="433"/>
            <ac:spMk id="25" creationId="{03920D36-57FD-4096-BB29-CA955E226767}"/>
          </ac:spMkLst>
        </pc:spChg>
        <pc:picChg chg="add del mod modCrop">
          <ac:chgData name="Daniel Hamann" userId="847c405c-7417-4257-a34f-58113b877d74" providerId="ADAL" clId="{1173E080-8BED-4155-9D29-857F04B3702D}" dt="2022-04-13T08:25:50.391" v="2384" actId="478"/>
          <ac:picMkLst>
            <pc:docMk/>
            <pc:sldMk cId="3056604384" sldId="433"/>
            <ac:picMk id="11" creationId="{376C2DA8-CE48-407C-8E93-6B386DECA04B}"/>
          </ac:picMkLst>
        </pc:picChg>
        <pc:picChg chg="add mod ord">
          <ac:chgData name="Daniel Hamann" userId="847c405c-7417-4257-a34f-58113b877d74" providerId="ADAL" clId="{1173E080-8BED-4155-9D29-857F04B3702D}" dt="2022-04-13T08:27:49.164" v="2405" actId="14861"/>
          <ac:picMkLst>
            <pc:docMk/>
            <pc:sldMk cId="3056604384" sldId="433"/>
            <ac:picMk id="16" creationId="{01A23270-A4DC-4213-97E4-306C7879D23B}"/>
          </ac:picMkLst>
        </pc:picChg>
        <pc:picChg chg="add del mod">
          <ac:chgData name="Daniel Hamann" userId="847c405c-7417-4257-a34f-58113b877d74" providerId="ADAL" clId="{1173E080-8BED-4155-9D29-857F04B3702D}" dt="2022-04-13T08:21:38.810" v="2201" actId="478"/>
          <ac:picMkLst>
            <pc:docMk/>
            <pc:sldMk cId="3056604384" sldId="433"/>
            <ac:picMk id="17" creationId="{85292420-321D-49F5-8E01-AEDE06B46C1E}"/>
          </ac:picMkLst>
        </pc:picChg>
        <pc:picChg chg="add mod">
          <ac:chgData name="Daniel Hamann" userId="847c405c-7417-4257-a34f-58113b877d74" providerId="ADAL" clId="{1173E080-8BED-4155-9D29-857F04B3702D}" dt="2022-04-13T08:27:43.232" v="2403" actId="1076"/>
          <ac:picMkLst>
            <pc:docMk/>
            <pc:sldMk cId="3056604384" sldId="433"/>
            <ac:picMk id="19" creationId="{2326ED74-546F-4A56-9A54-978A26521CDE}"/>
          </ac:picMkLst>
        </pc:picChg>
        <pc:picChg chg="add mod ord modCrop">
          <ac:chgData name="Daniel Hamann" userId="847c405c-7417-4257-a34f-58113b877d74" providerId="ADAL" clId="{1173E080-8BED-4155-9D29-857F04B3702D}" dt="2022-04-13T08:26:41.031" v="2395" actId="732"/>
          <ac:picMkLst>
            <pc:docMk/>
            <pc:sldMk cId="3056604384" sldId="433"/>
            <ac:picMk id="21" creationId="{F14D4847-9BC8-4212-9696-F2B027444D0C}"/>
          </ac:picMkLst>
        </pc:picChg>
      </pc:sldChg>
      <pc:sldChg chg="addSp delSp modSp del mod modClrScheme chgLayout">
        <pc:chgData name="Daniel Hamann" userId="847c405c-7417-4257-a34f-58113b877d74" providerId="ADAL" clId="{1173E080-8BED-4155-9D29-857F04B3702D}" dt="2022-04-12T16:51:40.996" v="413" actId="47"/>
        <pc:sldMkLst>
          <pc:docMk/>
          <pc:sldMk cId="1062719980" sldId="434"/>
        </pc:sldMkLst>
        <pc:spChg chg="mod ord">
          <ac:chgData name="Daniel Hamann" userId="847c405c-7417-4257-a34f-58113b877d74" providerId="ADAL" clId="{1173E080-8BED-4155-9D29-857F04B3702D}" dt="2022-04-12T13:55:24.754" v="1" actId="700"/>
          <ac:spMkLst>
            <pc:docMk/>
            <pc:sldMk cId="1062719980" sldId="434"/>
            <ac:spMk id="3" creationId="{1F4D5F3E-D201-4C7A-9407-E39025F1533B}"/>
          </ac:spMkLst>
        </pc:spChg>
        <pc:spChg chg="del mod ord">
          <ac:chgData name="Daniel Hamann" userId="847c405c-7417-4257-a34f-58113b877d74" providerId="ADAL" clId="{1173E080-8BED-4155-9D29-857F04B3702D}" dt="2022-04-12T13:55:24.754" v="1" actId="700"/>
          <ac:spMkLst>
            <pc:docMk/>
            <pc:sldMk cId="1062719980" sldId="434"/>
            <ac:spMk id="4" creationId="{9294021A-F930-41F7-BD5C-24C1B4D74B5C}"/>
          </ac:spMkLst>
        </pc:spChg>
        <pc:spChg chg="del mod ord">
          <ac:chgData name="Daniel Hamann" userId="847c405c-7417-4257-a34f-58113b877d74" providerId="ADAL" clId="{1173E080-8BED-4155-9D29-857F04B3702D}" dt="2022-04-12T13:55:24.754" v="1" actId="700"/>
          <ac:spMkLst>
            <pc:docMk/>
            <pc:sldMk cId="1062719980" sldId="434"/>
            <ac:spMk id="5" creationId="{DBA6B9EE-6AAF-4996-AE25-E0B3B6BEEB3F}"/>
          </ac:spMkLst>
        </pc:spChg>
        <pc:spChg chg="mod ord">
          <ac:chgData name="Daniel Hamann" userId="847c405c-7417-4257-a34f-58113b877d74" providerId="ADAL" clId="{1173E080-8BED-4155-9D29-857F04B3702D}" dt="2022-04-12T13:55:24.754" v="1" actId="700"/>
          <ac:spMkLst>
            <pc:docMk/>
            <pc:sldMk cId="1062719980" sldId="434"/>
            <ac:spMk id="6" creationId="{AF8EAC61-3C64-4CF2-AE56-F3913C7E7E44}"/>
          </ac:spMkLst>
        </pc:spChg>
        <pc:spChg chg="add mod ord">
          <ac:chgData name="Daniel Hamann" userId="847c405c-7417-4257-a34f-58113b877d74" providerId="ADAL" clId="{1173E080-8BED-4155-9D29-857F04B3702D}" dt="2022-04-12T13:55:24.754" v="1" actId="700"/>
          <ac:spMkLst>
            <pc:docMk/>
            <pc:sldMk cId="1062719980" sldId="434"/>
            <ac:spMk id="7" creationId="{479EE7EE-177C-4DC3-BA25-82749226EF59}"/>
          </ac:spMkLst>
        </pc:spChg>
        <pc:spChg chg="add mod ord">
          <ac:chgData name="Daniel Hamann" userId="847c405c-7417-4257-a34f-58113b877d74" providerId="ADAL" clId="{1173E080-8BED-4155-9D29-857F04B3702D}" dt="2022-04-12T13:55:24.754" v="1" actId="700"/>
          <ac:spMkLst>
            <pc:docMk/>
            <pc:sldMk cId="1062719980" sldId="434"/>
            <ac:spMk id="8" creationId="{DBAF5433-54A6-4456-A33A-C73EFAAB57E9}"/>
          </ac:spMkLst>
        </pc:spChg>
        <pc:spChg chg="add del mod ord">
          <ac:chgData name="Daniel Hamann" userId="847c405c-7417-4257-a34f-58113b877d74" providerId="ADAL" clId="{1173E080-8BED-4155-9D29-857F04B3702D}" dt="2022-04-12T13:55:30.646" v="3" actId="478"/>
          <ac:spMkLst>
            <pc:docMk/>
            <pc:sldMk cId="1062719980" sldId="434"/>
            <ac:spMk id="9" creationId="{31536F63-912F-47B6-86EB-0A424904B33A}"/>
          </ac:spMkLst>
        </pc:spChg>
        <pc:spChg chg="del mod ord">
          <ac:chgData name="Daniel Hamann" userId="847c405c-7417-4257-a34f-58113b877d74" providerId="ADAL" clId="{1173E080-8BED-4155-9D29-857F04B3702D}" dt="2022-04-12T13:55:24.754" v="1" actId="700"/>
          <ac:spMkLst>
            <pc:docMk/>
            <pc:sldMk cId="1062719980" sldId="434"/>
            <ac:spMk id="11" creationId="{088BF6E9-83BC-40A3-B30D-DF1B013A8AD2}"/>
          </ac:spMkLst>
        </pc:spChg>
        <pc:picChg chg="mod ord">
          <ac:chgData name="Daniel Hamann" userId="847c405c-7417-4257-a34f-58113b877d74" providerId="ADAL" clId="{1173E080-8BED-4155-9D29-857F04B3702D}" dt="2022-04-12T13:55:38.374" v="5" actId="14100"/>
          <ac:picMkLst>
            <pc:docMk/>
            <pc:sldMk cId="1062719980" sldId="434"/>
            <ac:picMk id="2" creationId="{67D6E333-437D-4975-B487-878A0A68DF3A}"/>
          </ac:picMkLst>
        </pc:picChg>
      </pc:sldChg>
      <pc:sldChg chg="addSp delSp modSp new mod ord delAnim modAnim">
        <pc:chgData name="Daniel Hamann" userId="847c405c-7417-4257-a34f-58113b877d74" providerId="ADAL" clId="{1173E080-8BED-4155-9D29-857F04B3702D}" dt="2022-04-13T08:58:32.001" v="3558" actId="2085"/>
        <pc:sldMkLst>
          <pc:docMk/>
          <pc:sldMk cId="4019473684" sldId="435"/>
        </pc:sldMkLst>
        <pc:spChg chg="mod">
          <ac:chgData name="Daniel Hamann" userId="847c405c-7417-4257-a34f-58113b877d74" providerId="ADAL" clId="{1173E080-8BED-4155-9D29-857F04B3702D}" dt="2022-04-12T16:59:10.845" v="1251" actId="20577"/>
          <ac:spMkLst>
            <pc:docMk/>
            <pc:sldMk cId="4019473684" sldId="435"/>
            <ac:spMk id="3" creationId="{41085146-20D3-4105-B278-1A0BFB4933CC}"/>
          </ac:spMkLst>
        </pc:spChg>
        <pc:spChg chg="del">
          <ac:chgData name="Daniel Hamann" userId="847c405c-7417-4257-a34f-58113b877d74" providerId="ADAL" clId="{1173E080-8BED-4155-9D29-857F04B3702D}" dt="2022-04-12T16:55:10.404" v="635" actId="478"/>
          <ac:spMkLst>
            <pc:docMk/>
            <pc:sldMk cId="4019473684" sldId="435"/>
            <ac:spMk id="4" creationId="{8716F09E-13E1-4C08-9D49-AB14067AFA81}"/>
          </ac:spMkLst>
        </pc:spChg>
        <pc:spChg chg="mod">
          <ac:chgData name="Daniel Hamann" userId="847c405c-7417-4257-a34f-58113b877d74" providerId="ADAL" clId="{1173E080-8BED-4155-9D29-857F04B3702D}" dt="2022-04-12T16:56:43.567" v="713" actId="5793"/>
          <ac:spMkLst>
            <pc:docMk/>
            <pc:sldMk cId="4019473684" sldId="435"/>
            <ac:spMk id="5" creationId="{B9F0684C-FFDF-47C7-A0E1-654184514076}"/>
          </ac:spMkLst>
        </pc:spChg>
        <pc:spChg chg="mod">
          <ac:chgData name="Daniel Hamann" userId="847c405c-7417-4257-a34f-58113b877d74" providerId="ADAL" clId="{1173E080-8BED-4155-9D29-857F04B3702D}" dt="2022-04-12T16:54:59.872" v="632" actId="20577"/>
          <ac:spMkLst>
            <pc:docMk/>
            <pc:sldMk cId="4019473684" sldId="435"/>
            <ac:spMk id="6" creationId="{07550D0F-192B-4EB9-9501-90C1DEFBF170}"/>
          </ac:spMkLst>
        </pc:spChg>
        <pc:spChg chg="add mod">
          <ac:chgData name="Daniel Hamann" userId="847c405c-7417-4257-a34f-58113b877d74" providerId="ADAL" clId="{1173E080-8BED-4155-9D29-857F04B3702D}" dt="2022-04-13T08:10:14.823" v="1932"/>
          <ac:spMkLst>
            <pc:docMk/>
            <pc:sldMk cId="4019473684" sldId="435"/>
            <ac:spMk id="22" creationId="{F15D0F4D-DFA8-40B9-A9B6-B92AC19ED178}"/>
          </ac:spMkLst>
        </pc:spChg>
        <pc:picChg chg="add del mod">
          <ac:chgData name="Daniel Hamann" userId="847c405c-7417-4257-a34f-58113b877d74" providerId="ADAL" clId="{1173E080-8BED-4155-9D29-857F04B3702D}" dt="2022-04-12T16:54:48.644" v="623" actId="478"/>
          <ac:picMkLst>
            <pc:docMk/>
            <pc:sldMk cId="4019473684" sldId="435"/>
            <ac:picMk id="8" creationId="{3D1613BA-2457-4508-BF5D-53657C938400}"/>
          </ac:picMkLst>
        </pc:picChg>
        <pc:picChg chg="add mod">
          <ac:chgData name="Daniel Hamann" userId="847c405c-7417-4257-a34f-58113b877d74" providerId="ADAL" clId="{1173E080-8BED-4155-9D29-857F04B3702D}" dt="2022-04-13T08:58:32.001" v="3558" actId="2085"/>
          <ac:picMkLst>
            <pc:docMk/>
            <pc:sldMk cId="4019473684" sldId="435"/>
            <ac:picMk id="9" creationId="{FBB9CCE4-4D71-4DDF-8581-F074A871D459}"/>
          </ac:picMkLst>
        </pc:picChg>
        <pc:picChg chg="add del mod">
          <ac:chgData name="Daniel Hamann" userId="847c405c-7417-4257-a34f-58113b877d74" providerId="ADAL" clId="{1173E080-8BED-4155-9D29-857F04B3702D}" dt="2022-04-12T16:55:37.694" v="642"/>
          <ac:picMkLst>
            <pc:docMk/>
            <pc:sldMk cId="4019473684" sldId="435"/>
            <ac:picMk id="10" creationId="{EDC1437C-5170-4F17-BB64-CA11CC38D67C}"/>
          </ac:picMkLst>
        </pc:picChg>
        <pc:picChg chg="add del mod">
          <ac:chgData name="Daniel Hamann" userId="847c405c-7417-4257-a34f-58113b877d74" providerId="ADAL" clId="{1173E080-8BED-4155-9D29-857F04B3702D}" dt="2022-04-13T07:29:42.274" v="1283" actId="478"/>
          <ac:picMkLst>
            <pc:docMk/>
            <pc:sldMk cId="4019473684" sldId="435"/>
            <ac:picMk id="11" creationId="{CA944D49-A613-47A2-AD35-7031B96D39A7}"/>
          </ac:picMkLst>
        </pc:picChg>
        <pc:picChg chg="add del mod">
          <ac:chgData name="Daniel Hamann" userId="847c405c-7417-4257-a34f-58113b877d74" providerId="ADAL" clId="{1173E080-8BED-4155-9D29-857F04B3702D}" dt="2022-04-13T07:31:42.003" v="1301" actId="478"/>
          <ac:picMkLst>
            <pc:docMk/>
            <pc:sldMk cId="4019473684" sldId="435"/>
            <ac:picMk id="13" creationId="{F31104AC-AC98-4A78-9DFD-A7250EDB90F0}"/>
          </ac:picMkLst>
        </pc:picChg>
        <pc:picChg chg="add del mod">
          <ac:chgData name="Daniel Hamann" userId="847c405c-7417-4257-a34f-58113b877d74" providerId="ADAL" clId="{1173E080-8BED-4155-9D29-857F04B3702D}" dt="2022-04-13T07:31:25.055" v="1296" actId="478"/>
          <ac:picMkLst>
            <pc:docMk/>
            <pc:sldMk cId="4019473684" sldId="435"/>
            <ac:picMk id="15" creationId="{F0F24990-5832-4A1D-B1FA-25C3F8C6F1CF}"/>
          </ac:picMkLst>
        </pc:picChg>
        <pc:picChg chg="add del mod">
          <ac:chgData name="Daniel Hamann" userId="847c405c-7417-4257-a34f-58113b877d74" providerId="ADAL" clId="{1173E080-8BED-4155-9D29-857F04B3702D}" dt="2022-04-13T07:31:42.003" v="1301" actId="478"/>
          <ac:picMkLst>
            <pc:docMk/>
            <pc:sldMk cId="4019473684" sldId="435"/>
            <ac:picMk id="17" creationId="{87E2788D-9C1C-47EF-8C13-19FB9AA055C9}"/>
          </ac:picMkLst>
        </pc:picChg>
        <pc:picChg chg="add del mod">
          <ac:chgData name="Daniel Hamann" userId="847c405c-7417-4257-a34f-58113b877d74" providerId="ADAL" clId="{1173E080-8BED-4155-9D29-857F04B3702D}" dt="2022-04-13T08:05:52.761" v="1904" actId="478"/>
          <ac:picMkLst>
            <pc:docMk/>
            <pc:sldMk cId="4019473684" sldId="435"/>
            <ac:picMk id="18" creationId="{DB3FE6E7-528F-4C39-A079-377C2BC796DF}"/>
          </ac:picMkLst>
        </pc:picChg>
        <pc:picChg chg="add del mod">
          <ac:chgData name="Daniel Hamann" userId="847c405c-7417-4257-a34f-58113b877d74" providerId="ADAL" clId="{1173E080-8BED-4155-9D29-857F04B3702D}" dt="2022-04-13T07:49:14.383" v="1315"/>
          <ac:picMkLst>
            <pc:docMk/>
            <pc:sldMk cId="4019473684" sldId="435"/>
            <ac:picMk id="19" creationId="{AAA6B5F6-BD5D-4DB7-B971-05655D02E557}"/>
          </ac:picMkLst>
        </pc:picChg>
        <pc:picChg chg="add del mod">
          <ac:chgData name="Daniel Hamann" userId="847c405c-7417-4257-a34f-58113b877d74" providerId="ADAL" clId="{1173E080-8BED-4155-9D29-857F04B3702D}" dt="2022-04-13T08:10:14.298" v="1931" actId="478"/>
          <ac:picMkLst>
            <pc:docMk/>
            <pc:sldMk cId="4019473684" sldId="435"/>
            <ac:picMk id="20" creationId="{D104EF9E-DDC7-4050-8F28-40FFBFD90A16}"/>
          </ac:picMkLst>
        </pc:picChg>
        <pc:picChg chg="add mod">
          <ac:chgData name="Daniel Hamann" userId="847c405c-7417-4257-a34f-58113b877d74" providerId="ADAL" clId="{1173E080-8BED-4155-9D29-857F04B3702D}" dt="2022-04-13T08:10:14.823" v="1932"/>
          <ac:picMkLst>
            <pc:docMk/>
            <pc:sldMk cId="4019473684" sldId="435"/>
            <ac:picMk id="21" creationId="{C0548DAB-8CBF-43E4-A0E8-229A732E4BEC}"/>
          </ac:picMkLst>
        </pc:picChg>
      </pc:sldChg>
      <pc:sldChg chg="addSp delSp modSp new mod">
        <pc:chgData name="Daniel Hamann" userId="847c405c-7417-4257-a34f-58113b877d74" providerId="ADAL" clId="{1173E080-8BED-4155-9D29-857F04B3702D}" dt="2022-04-13T08:57:41.012" v="3553" actId="1076"/>
        <pc:sldMkLst>
          <pc:docMk/>
          <pc:sldMk cId="4078766610" sldId="436"/>
        </pc:sldMkLst>
        <pc:spChg chg="mod">
          <ac:chgData name="Daniel Hamann" userId="847c405c-7417-4257-a34f-58113b877d74" providerId="ADAL" clId="{1173E080-8BED-4155-9D29-857F04B3702D}" dt="2022-04-13T08:52:37.805" v="3468" actId="313"/>
          <ac:spMkLst>
            <pc:docMk/>
            <pc:sldMk cId="4078766610" sldId="436"/>
            <ac:spMk id="3" creationId="{BFFE3C7F-00AD-4B12-817C-7ED189EB1610}"/>
          </ac:spMkLst>
        </pc:spChg>
        <pc:spChg chg="mod">
          <ac:chgData name="Daniel Hamann" userId="847c405c-7417-4257-a34f-58113b877d74" providerId="ADAL" clId="{1173E080-8BED-4155-9D29-857F04B3702D}" dt="2022-04-12T16:33:33.428" v="65"/>
          <ac:spMkLst>
            <pc:docMk/>
            <pc:sldMk cId="4078766610" sldId="436"/>
            <ac:spMk id="6" creationId="{1E334096-65A7-4D92-9B19-7347807EDDD9}"/>
          </ac:spMkLst>
        </pc:spChg>
        <pc:spChg chg="add mod">
          <ac:chgData name="Daniel Hamann" userId="847c405c-7417-4257-a34f-58113b877d74" providerId="ADAL" clId="{1173E080-8BED-4155-9D29-857F04B3702D}" dt="2022-04-12T16:33:27.411" v="64"/>
          <ac:spMkLst>
            <pc:docMk/>
            <pc:sldMk cId="4078766610" sldId="436"/>
            <ac:spMk id="10" creationId="{EB43F172-32C2-4D0F-B3BB-CDA52CF47EB8}"/>
          </ac:spMkLst>
        </pc:spChg>
        <pc:spChg chg="add mod">
          <ac:chgData name="Daniel Hamann" userId="847c405c-7417-4257-a34f-58113b877d74" providerId="ADAL" clId="{1173E080-8BED-4155-9D29-857F04B3702D}" dt="2022-04-12T16:47:58.550" v="370" actId="1038"/>
          <ac:spMkLst>
            <pc:docMk/>
            <pc:sldMk cId="4078766610" sldId="436"/>
            <ac:spMk id="11" creationId="{D0227A9D-FCE7-4251-BBE4-E2715AD9D3D1}"/>
          </ac:spMkLst>
        </pc:spChg>
        <pc:spChg chg="add mod">
          <ac:chgData name="Daniel Hamann" userId="847c405c-7417-4257-a34f-58113b877d74" providerId="ADAL" clId="{1173E080-8BED-4155-9D29-857F04B3702D}" dt="2022-04-12T16:48:19.934" v="375" actId="14100"/>
          <ac:spMkLst>
            <pc:docMk/>
            <pc:sldMk cId="4078766610" sldId="436"/>
            <ac:spMk id="12" creationId="{7ACEFEF3-07E2-4012-836E-F593B13D8DB0}"/>
          </ac:spMkLst>
        </pc:spChg>
        <pc:spChg chg="add mod">
          <ac:chgData name="Daniel Hamann" userId="847c405c-7417-4257-a34f-58113b877d74" providerId="ADAL" clId="{1173E080-8BED-4155-9D29-857F04B3702D}" dt="2022-04-13T08:57:20.875" v="3549" actId="1076"/>
          <ac:spMkLst>
            <pc:docMk/>
            <pc:sldMk cId="4078766610" sldId="436"/>
            <ac:spMk id="13" creationId="{064BB6B3-42C7-4808-AE2C-1278D7B5D0A3}"/>
          </ac:spMkLst>
        </pc:spChg>
        <pc:spChg chg="add mod">
          <ac:chgData name="Daniel Hamann" userId="847c405c-7417-4257-a34f-58113b877d74" providerId="ADAL" clId="{1173E080-8BED-4155-9D29-857F04B3702D}" dt="2022-04-13T08:57:41.012" v="3553" actId="1076"/>
          <ac:spMkLst>
            <pc:docMk/>
            <pc:sldMk cId="4078766610" sldId="436"/>
            <ac:spMk id="14" creationId="{D513602A-6062-463D-94A0-9E7E55F26117}"/>
          </ac:spMkLst>
        </pc:spChg>
        <pc:spChg chg="add mod">
          <ac:chgData name="Daniel Hamann" userId="847c405c-7417-4257-a34f-58113b877d74" providerId="ADAL" clId="{1173E080-8BED-4155-9D29-857F04B3702D}" dt="2022-04-13T08:57:30.419" v="3551" actId="1076"/>
          <ac:spMkLst>
            <pc:docMk/>
            <pc:sldMk cId="4078766610" sldId="436"/>
            <ac:spMk id="15" creationId="{A527174F-E032-4D03-AE23-613B8EF816DE}"/>
          </ac:spMkLst>
        </pc:spChg>
        <pc:picChg chg="add mod">
          <ac:chgData name="Daniel Hamann" userId="847c405c-7417-4257-a34f-58113b877d74" providerId="ADAL" clId="{1173E080-8BED-4155-9D29-857F04B3702D}" dt="2022-04-12T16:33:38.981" v="67" actId="1076"/>
          <ac:picMkLst>
            <pc:docMk/>
            <pc:sldMk cId="4078766610" sldId="436"/>
            <ac:picMk id="8" creationId="{4E994418-7328-4F97-B120-FEA8910A7D2F}"/>
          </ac:picMkLst>
        </pc:picChg>
        <pc:picChg chg="add mod">
          <ac:chgData name="Daniel Hamann" userId="847c405c-7417-4257-a34f-58113b877d74" providerId="ADAL" clId="{1173E080-8BED-4155-9D29-857F04B3702D}" dt="2022-04-12T16:49:37.480" v="387" actId="1076"/>
          <ac:picMkLst>
            <pc:docMk/>
            <pc:sldMk cId="4078766610" sldId="436"/>
            <ac:picMk id="9" creationId="{48733DAE-2677-4BD3-8018-8828B38C3025}"/>
          </ac:picMkLst>
        </pc:picChg>
        <pc:picChg chg="add del mod">
          <ac:chgData name="Daniel Hamann" userId="847c405c-7417-4257-a34f-58113b877d74" providerId="ADAL" clId="{1173E080-8BED-4155-9D29-857F04B3702D}" dt="2022-04-12T17:07:55.928" v="1273" actId="478"/>
          <ac:picMkLst>
            <pc:docMk/>
            <pc:sldMk cId="4078766610" sldId="436"/>
            <ac:picMk id="16" creationId="{121661B6-CF87-456C-BD6E-761A5C3A1DF1}"/>
          </ac:picMkLst>
        </pc:picChg>
      </pc:sldChg>
      <pc:sldChg chg="addSp delSp modSp add mod modAnim">
        <pc:chgData name="Daniel Hamann" userId="847c405c-7417-4257-a34f-58113b877d74" providerId="ADAL" clId="{1173E080-8BED-4155-9D29-857F04B3702D}" dt="2022-04-13T08:58:26.483" v="3557" actId="1035"/>
        <pc:sldMkLst>
          <pc:docMk/>
          <pc:sldMk cId="4183544056" sldId="437"/>
        </pc:sldMkLst>
        <pc:spChg chg="mod">
          <ac:chgData name="Daniel Hamann" userId="847c405c-7417-4257-a34f-58113b877d74" providerId="ADAL" clId="{1173E080-8BED-4155-9D29-857F04B3702D}" dt="2022-04-12T16:59:25.972" v="1256" actId="20577"/>
          <ac:spMkLst>
            <pc:docMk/>
            <pc:sldMk cId="4183544056" sldId="437"/>
            <ac:spMk id="3" creationId="{41085146-20D3-4105-B278-1A0BFB4933CC}"/>
          </ac:spMkLst>
        </pc:spChg>
        <pc:spChg chg="del">
          <ac:chgData name="Daniel Hamann" userId="847c405c-7417-4257-a34f-58113b877d74" providerId="ADAL" clId="{1173E080-8BED-4155-9D29-857F04B3702D}" dt="2022-04-12T16:59:55.479" v="1258" actId="478"/>
          <ac:spMkLst>
            <pc:docMk/>
            <pc:sldMk cId="4183544056" sldId="437"/>
            <ac:spMk id="4" creationId="{8716F09E-13E1-4C08-9D49-AB14067AFA81}"/>
          </ac:spMkLst>
        </pc:spChg>
        <pc:spChg chg="add mod">
          <ac:chgData name="Daniel Hamann" userId="847c405c-7417-4257-a34f-58113b877d74" providerId="ADAL" clId="{1173E080-8BED-4155-9D29-857F04B3702D}" dt="2022-04-13T08:10:18.698" v="1934"/>
          <ac:spMkLst>
            <pc:docMk/>
            <pc:sldMk cId="4183544056" sldId="437"/>
            <ac:spMk id="12" creationId="{7F5CC2D9-B904-485B-8A21-CA954FB8BE79}"/>
          </ac:spMkLst>
        </pc:spChg>
        <pc:picChg chg="mod">
          <ac:chgData name="Daniel Hamann" userId="847c405c-7417-4257-a34f-58113b877d74" providerId="ADAL" clId="{1173E080-8BED-4155-9D29-857F04B3702D}" dt="2022-04-13T08:58:26.483" v="3557" actId="1035"/>
          <ac:picMkLst>
            <pc:docMk/>
            <pc:sldMk cId="4183544056" sldId="437"/>
            <ac:picMk id="8" creationId="{3D1613BA-2457-4508-BF5D-53657C938400}"/>
          </ac:picMkLst>
        </pc:picChg>
        <pc:picChg chg="add del mod">
          <ac:chgData name="Daniel Hamann" userId="847c405c-7417-4257-a34f-58113b877d74" providerId="ADAL" clId="{1173E080-8BED-4155-9D29-857F04B3702D}" dt="2022-04-13T08:05:38.458" v="1900" actId="478"/>
          <ac:picMkLst>
            <pc:docMk/>
            <pc:sldMk cId="4183544056" sldId="437"/>
            <ac:picMk id="9" creationId="{3822A464-B617-4A22-BEAE-CBA4F0AAD43A}"/>
          </ac:picMkLst>
        </pc:picChg>
        <pc:picChg chg="add del mod">
          <ac:chgData name="Daniel Hamann" userId="847c405c-7417-4257-a34f-58113b877d74" providerId="ADAL" clId="{1173E080-8BED-4155-9D29-857F04B3702D}" dt="2022-04-13T08:10:17.948" v="1933" actId="478"/>
          <ac:picMkLst>
            <pc:docMk/>
            <pc:sldMk cId="4183544056" sldId="437"/>
            <ac:picMk id="10" creationId="{F72AAAAA-E19B-4C6C-8A2B-528A05AE47E5}"/>
          </ac:picMkLst>
        </pc:picChg>
        <pc:picChg chg="add mod">
          <ac:chgData name="Daniel Hamann" userId="847c405c-7417-4257-a34f-58113b877d74" providerId="ADAL" clId="{1173E080-8BED-4155-9D29-857F04B3702D}" dt="2022-04-13T08:10:18.698" v="1934"/>
          <ac:picMkLst>
            <pc:docMk/>
            <pc:sldMk cId="4183544056" sldId="437"/>
            <ac:picMk id="11" creationId="{3B13E47C-4B0F-4B14-8813-AD1CDFA3A7B8}"/>
          </ac:picMkLst>
        </pc:picChg>
      </pc:sldChg>
      <pc:sldChg chg="addSp delSp modSp add mod ord delAnim chgLayout">
        <pc:chgData name="Daniel Hamann" userId="847c405c-7417-4257-a34f-58113b877d74" providerId="ADAL" clId="{1173E080-8BED-4155-9D29-857F04B3702D}" dt="2022-04-13T09:16:46.429" v="3684" actId="6549"/>
        <pc:sldMkLst>
          <pc:docMk/>
          <pc:sldMk cId="4097106166" sldId="438"/>
        </pc:sldMkLst>
        <pc:spChg chg="mod ord">
          <ac:chgData name="Daniel Hamann" userId="847c405c-7417-4257-a34f-58113b877d74" providerId="ADAL" clId="{1173E080-8BED-4155-9D29-857F04B3702D}" dt="2022-04-12T16:56:12.449" v="654" actId="700"/>
          <ac:spMkLst>
            <pc:docMk/>
            <pc:sldMk cId="4097106166" sldId="438"/>
            <ac:spMk id="2" creationId="{D50546D6-4775-4BA8-AEA7-5C58A595D9B4}"/>
          </ac:spMkLst>
        </pc:spChg>
        <pc:spChg chg="mod ord">
          <ac:chgData name="Daniel Hamann" userId="847c405c-7417-4257-a34f-58113b877d74" providerId="ADAL" clId="{1173E080-8BED-4155-9D29-857F04B3702D}" dt="2022-04-13T09:16:46.429" v="3684" actId="6549"/>
          <ac:spMkLst>
            <pc:docMk/>
            <pc:sldMk cId="4097106166" sldId="438"/>
            <ac:spMk id="3" creationId="{41085146-20D3-4105-B278-1A0BFB4933CC}"/>
          </ac:spMkLst>
        </pc:spChg>
        <pc:spChg chg="add mod ord">
          <ac:chgData name="Daniel Hamann" userId="847c405c-7417-4257-a34f-58113b877d74" providerId="ADAL" clId="{1173E080-8BED-4155-9D29-857F04B3702D}" dt="2022-04-12T16:56:36.531" v="689" actId="20577"/>
          <ac:spMkLst>
            <pc:docMk/>
            <pc:sldMk cId="4097106166" sldId="438"/>
            <ac:spMk id="4" creationId="{B5922A4A-39A7-4419-AA18-882BCFF20C6F}"/>
          </ac:spMkLst>
        </pc:spChg>
        <pc:spChg chg="del">
          <ac:chgData name="Daniel Hamann" userId="847c405c-7417-4257-a34f-58113b877d74" providerId="ADAL" clId="{1173E080-8BED-4155-9D29-857F04B3702D}" dt="2022-04-12T16:56:12.449" v="654" actId="700"/>
          <ac:spMkLst>
            <pc:docMk/>
            <pc:sldMk cId="4097106166" sldId="438"/>
            <ac:spMk id="5" creationId="{B9F0684C-FFDF-47C7-A0E1-654184514076}"/>
          </ac:spMkLst>
        </pc:spChg>
        <pc:spChg chg="mod ord">
          <ac:chgData name="Daniel Hamann" userId="847c405c-7417-4257-a34f-58113b877d74" providerId="ADAL" clId="{1173E080-8BED-4155-9D29-857F04B3702D}" dt="2022-04-12T16:56:12.449" v="654" actId="700"/>
          <ac:spMkLst>
            <pc:docMk/>
            <pc:sldMk cId="4097106166" sldId="438"/>
            <ac:spMk id="6" creationId="{07550D0F-192B-4EB9-9501-90C1DEFBF170}"/>
          </ac:spMkLst>
        </pc:spChg>
        <pc:spChg chg="del">
          <ac:chgData name="Daniel Hamann" userId="847c405c-7417-4257-a34f-58113b877d74" providerId="ADAL" clId="{1173E080-8BED-4155-9D29-857F04B3702D}" dt="2022-04-12T16:56:12.449" v="654" actId="700"/>
          <ac:spMkLst>
            <pc:docMk/>
            <pc:sldMk cId="4097106166" sldId="438"/>
            <ac:spMk id="7" creationId="{9AA12C82-1CB2-4349-8F3E-103691F17D55}"/>
          </ac:spMkLst>
        </pc:spChg>
        <pc:spChg chg="add mod ord">
          <ac:chgData name="Daniel Hamann" userId="847c405c-7417-4257-a34f-58113b877d74" providerId="ADAL" clId="{1173E080-8BED-4155-9D29-857F04B3702D}" dt="2022-04-12T16:56:12.449" v="654" actId="700"/>
          <ac:spMkLst>
            <pc:docMk/>
            <pc:sldMk cId="4097106166" sldId="438"/>
            <ac:spMk id="10" creationId="{937D117A-2641-4B03-BC08-6F7ABEC2F112}"/>
          </ac:spMkLst>
        </pc:spChg>
        <pc:spChg chg="add del mod ord">
          <ac:chgData name="Daniel Hamann" userId="847c405c-7417-4257-a34f-58113b877d74" providerId="ADAL" clId="{1173E080-8BED-4155-9D29-857F04B3702D}" dt="2022-04-12T16:56:27.648" v="661" actId="478"/>
          <ac:spMkLst>
            <pc:docMk/>
            <pc:sldMk cId="4097106166" sldId="438"/>
            <ac:spMk id="11" creationId="{9BFA8776-BC83-431A-BBC5-9936805BDC45}"/>
          </ac:spMkLst>
        </pc:spChg>
        <pc:spChg chg="add mod">
          <ac:chgData name="Daniel Hamann" userId="847c405c-7417-4257-a34f-58113b877d74" providerId="ADAL" clId="{1173E080-8BED-4155-9D29-857F04B3702D}" dt="2022-04-13T08:56:59.129" v="3547" actId="14100"/>
          <ac:spMkLst>
            <pc:docMk/>
            <pc:sldMk cId="4097106166" sldId="438"/>
            <ac:spMk id="12" creationId="{1B6470BC-4FF3-490E-B5D4-05B84E5DE5FE}"/>
          </ac:spMkLst>
        </pc:spChg>
        <pc:spChg chg="add mod">
          <ac:chgData name="Daniel Hamann" userId="847c405c-7417-4257-a34f-58113b877d74" providerId="ADAL" clId="{1173E080-8BED-4155-9D29-857F04B3702D}" dt="2022-04-13T08:57:50.065" v="3554" actId="1076"/>
          <ac:spMkLst>
            <pc:docMk/>
            <pc:sldMk cId="4097106166" sldId="438"/>
            <ac:spMk id="13" creationId="{BCD5DAB7-14F7-4D0F-BAD7-035CD5B392AF}"/>
          </ac:spMkLst>
        </pc:spChg>
        <pc:spChg chg="add mod">
          <ac:chgData name="Daniel Hamann" userId="847c405c-7417-4257-a34f-58113b877d74" providerId="ADAL" clId="{1173E080-8BED-4155-9D29-857F04B3702D}" dt="2022-04-13T08:56:35.503" v="3544" actId="14100"/>
          <ac:spMkLst>
            <pc:docMk/>
            <pc:sldMk cId="4097106166" sldId="438"/>
            <ac:spMk id="14" creationId="{E3350E42-44DE-4622-B5F3-6507132D9226}"/>
          </ac:spMkLst>
        </pc:spChg>
        <pc:spChg chg="add mod">
          <ac:chgData name="Daniel Hamann" userId="847c405c-7417-4257-a34f-58113b877d74" providerId="ADAL" clId="{1173E080-8BED-4155-9D29-857F04B3702D}" dt="2022-04-13T08:56:42.340" v="3545" actId="1076"/>
          <ac:spMkLst>
            <pc:docMk/>
            <pc:sldMk cId="4097106166" sldId="438"/>
            <ac:spMk id="15" creationId="{24F1A60E-ADCD-4C34-B0C9-B64E8C56892D}"/>
          </ac:spMkLst>
        </pc:spChg>
        <pc:spChg chg="add mod">
          <ac:chgData name="Daniel Hamann" userId="847c405c-7417-4257-a34f-58113b877d74" providerId="ADAL" clId="{1173E080-8BED-4155-9D29-857F04B3702D}" dt="2022-04-13T08:55:39.649" v="3534" actId="1076"/>
          <ac:spMkLst>
            <pc:docMk/>
            <pc:sldMk cId="4097106166" sldId="438"/>
            <ac:spMk id="21" creationId="{7B3BAFDA-3872-46E7-9C78-10851F11DA9A}"/>
          </ac:spMkLst>
        </pc:spChg>
        <pc:spChg chg="add mod">
          <ac:chgData name="Daniel Hamann" userId="847c405c-7417-4257-a34f-58113b877d74" providerId="ADAL" clId="{1173E080-8BED-4155-9D29-857F04B3702D}" dt="2022-04-13T08:55:50.019" v="3539" actId="1076"/>
          <ac:spMkLst>
            <pc:docMk/>
            <pc:sldMk cId="4097106166" sldId="438"/>
            <ac:spMk id="22" creationId="{D35A8288-B9D6-411D-BB49-3EE2223A15CE}"/>
          </ac:spMkLst>
        </pc:spChg>
        <pc:spChg chg="add mod">
          <ac:chgData name="Daniel Hamann" userId="847c405c-7417-4257-a34f-58113b877d74" providerId="ADAL" clId="{1173E080-8BED-4155-9D29-857F04B3702D}" dt="2022-04-13T08:55:54.393" v="3540" actId="571"/>
          <ac:spMkLst>
            <pc:docMk/>
            <pc:sldMk cId="4097106166" sldId="438"/>
            <ac:spMk id="23" creationId="{B16BA737-0C5F-45E6-9A95-F5CB04559612}"/>
          </ac:spMkLst>
        </pc:spChg>
        <pc:spChg chg="add mod">
          <ac:chgData name="Daniel Hamann" userId="847c405c-7417-4257-a34f-58113b877d74" providerId="ADAL" clId="{1173E080-8BED-4155-9D29-857F04B3702D}" dt="2022-04-13T08:55:57.820" v="3541" actId="571"/>
          <ac:spMkLst>
            <pc:docMk/>
            <pc:sldMk cId="4097106166" sldId="438"/>
            <ac:spMk id="24" creationId="{9F7658EB-E5DE-4883-9F7B-F12756F6E942}"/>
          </ac:spMkLst>
        </pc:spChg>
        <pc:picChg chg="add mod">
          <ac:chgData name="Daniel Hamann" userId="847c405c-7417-4257-a34f-58113b877d74" providerId="ADAL" clId="{1173E080-8BED-4155-9D29-857F04B3702D}" dt="2022-04-13T08:55:43.052" v="3537" actId="1076"/>
          <ac:picMkLst>
            <pc:docMk/>
            <pc:sldMk cId="4097106166" sldId="438"/>
            <ac:picMk id="8" creationId="{F1D67463-7177-46F2-A71F-0F0F99DE3EE7}"/>
          </ac:picMkLst>
        </pc:picChg>
        <pc:picChg chg="del">
          <ac:chgData name="Daniel Hamann" userId="847c405c-7417-4257-a34f-58113b877d74" providerId="ADAL" clId="{1173E080-8BED-4155-9D29-857F04B3702D}" dt="2022-04-12T16:55:58.623" v="647" actId="478"/>
          <ac:picMkLst>
            <pc:docMk/>
            <pc:sldMk cId="4097106166" sldId="438"/>
            <ac:picMk id="9" creationId="{FBB9CCE4-4D71-4DDF-8581-F074A871D459}"/>
          </ac:picMkLst>
        </pc:picChg>
        <pc:cxnChg chg="add mod">
          <ac:chgData name="Daniel Hamann" userId="847c405c-7417-4257-a34f-58113b877d74" providerId="ADAL" clId="{1173E080-8BED-4155-9D29-857F04B3702D}" dt="2022-04-13T08:53:30" v="3472" actId="693"/>
          <ac:cxnSpMkLst>
            <pc:docMk/>
            <pc:sldMk cId="4097106166" sldId="438"/>
            <ac:cxnSpMk id="17" creationId="{AC99751C-E03D-4875-BAD8-3BD75F536C50}"/>
          </ac:cxnSpMkLst>
        </pc:cxnChg>
        <pc:cxnChg chg="add mod">
          <ac:chgData name="Daniel Hamann" userId="847c405c-7417-4257-a34f-58113b877d74" providerId="ADAL" clId="{1173E080-8BED-4155-9D29-857F04B3702D}" dt="2022-04-13T08:53:35.771" v="3474" actId="1076"/>
          <ac:cxnSpMkLst>
            <pc:docMk/>
            <pc:sldMk cId="4097106166" sldId="438"/>
            <ac:cxnSpMk id="18" creationId="{6EBAE07B-454F-4CEA-A69C-26C2CCF5D92B}"/>
          </ac:cxnSpMkLst>
        </pc:cxnChg>
        <pc:cxnChg chg="add mod">
          <ac:chgData name="Daniel Hamann" userId="847c405c-7417-4257-a34f-58113b877d74" providerId="ADAL" clId="{1173E080-8BED-4155-9D29-857F04B3702D}" dt="2022-04-13T08:53:39.952" v="3476" actId="1076"/>
          <ac:cxnSpMkLst>
            <pc:docMk/>
            <pc:sldMk cId="4097106166" sldId="438"/>
            <ac:cxnSpMk id="19" creationId="{56A31113-4D42-4E9D-8B54-29E59FBD9C70}"/>
          </ac:cxnSpMkLst>
        </pc:cxnChg>
        <pc:cxnChg chg="add mod">
          <ac:chgData name="Daniel Hamann" userId="847c405c-7417-4257-a34f-58113b877d74" providerId="ADAL" clId="{1173E080-8BED-4155-9D29-857F04B3702D}" dt="2022-04-13T08:53:57.085" v="3478" actId="1076"/>
          <ac:cxnSpMkLst>
            <pc:docMk/>
            <pc:sldMk cId="4097106166" sldId="438"/>
            <ac:cxnSpMk id="20" creationId="{FA211A5A-737D-47B7-A38E-DC9655633E80}"/>
          </ac:cxnSpMkLst>
        </pc:cxnChg>
      </pc:sldChg>
      <pc:sldChg chg="addSp delSp modSp add mod ord delAnim">
        <pc:chgData name="Daniel Hamann" userId="847c405c-7417-4257-a34f-58113b877d74" providerId="ADAL" clId="{1173E080-8BED-4155-9D29-857F04B3702D}" dt="2022-04-13T09:01:27.853" v="3659" actId="20577"/>
        <pc:sldMkLst>
          <pc:docMk/>
          <pc:sldMk cId="2993571560" sldId="439"/>
        </pc:sldMkLst>
        <pc:spChg chg="mod">
          <ac:chgData name="Daniel Hamann" userId="847c405c-7417-4257-a34f-58113b877d74" providerId="ADAL" clId="{1173E080-8BED-4155-9D29-857F04B3702D}" dt="2022-04-13T09:01:15.476" v="3651" actId="11"/>
          <ac:spMkLst>
            <pc:docMk/>
            <pc:sldMk cId="2993571560" sldId="439"/>
            <ac:spMk id="4" creationId="{D8847D70-44AA-4990-BC31-6408F317C97E}"/>
          </ac:spMkLst>
        </pc:spChg>
        <pc:spChg chg="add mod">
          <ac:chgData name="Daniel Hamann" userId="847c405c-7417-4257-a34f-58113b877d74" providerId="ADAL" clId="{1173E080-8BED-4155-9D29-857F04B3702D}" dt="2022-04-13T08:03:24.602" v="1775" actId="164"/>
          <ac:spMkLst>
            <pc:docMk/>
            <pc:sldMk cId="2993571560" sldId="439"/>
            <ac:spMk id="9" creationId="{205DB991-887E-4F93-B321-2AAFA8794EBE}"/>
          </ac:spMkLst>
        </pc:spChg>
        <pc:spChg chg="add del mod">
          <ac:chgData name="Daniel Hamann" userId="847c405c-7417-4257-a34f-58113b877d74" providerId="ADAL" clId="{1173E080-8BED-4155-9D29-857F04B3702D}" dt="2022-04-13T07:55:18.378" v="1555" actId="478"/>
          <ac:spMkLst>
            <pc:docMk/>
            <pc:sldMk cId="2993571560" sldId="439"/>
            <ac:spMk id="15" creationId="{3D36219A-9CE8-4C69-9369-D9E5C11DC860}"/>
          </ac:spMkLst>
        </pc:spChg>
        <pc:spChg chg="add del mod">
          <ac:chgData name="Daniel Hamann" userId="847c405c-7417-4257-a34f-58113b877d74" providerId="ADAL" clId="{1173E080-8BED-4155-9D29-857F04B3702D}" dt="2022-04-13T07:57:16.648" v="1566" actId="478"/>
          <ac:spMkLst>
            <pc:docMk/>
            <pc:sldMk cId="2993571560" sldId="439"/>
            <ac:spMk id="16" creationId="{FCD28192-980A-4435-8FDB-A4EE549BA12C}"/>
          </ac:spMkLst>
        </pc:spChg>
        <pc:spChg chg="add mod">
          <ac:chgData name="Daniel Hamann" userId="847c405c-7417-4257-a34f-58113b877d74" providerId="ADAL" clId="{1173E080-8BED-4155-9D29-857F04B3702D}" dt="2022-04-13T08:03:24.602" v="1775" actId="164"/>
          <ac:spMkLst>
            <pc:docMk/>
            <pc:sldMk cId="2993571560" sldId="439"/>
            <ac:spMk id="17" creationId="{7B52AF1E-9AA3-4B73-BC22-D6B145B997F3}"/>
          </ac:spMkLst>
        </pc:spChg>
        <pc:spChg chg="add mod">
          <ac:chgData name="Daniel Hamann" userId="847c405c-7417-4257-a34f-58113b877d74" providerId="ADAL" clId="{1173E080-8BED-4155-9D29-857F04B3702D}" dt="2022-04-13T07:58:50.558" v="1585" actId="14100"/>
          <ac:spMkLst>
            <pc:docMk/>
            <pc:sldMk cId="2993571560" sldId="439"/>
            <ac:spMk id="19" creationId="{DC63A760-2B70-4243-AE56-E39C1FE3D88F}"/>
          </ac:spMkLst>
        </pc:spChg>
        <pc:spChg chg="add mod">
          <ac:chgData name="Daniel Hamann" userId="847c405c-7417-4257-a34f-58113b877d74" providerId="ADAL" clId="{1173E080-8BED-4155-9D29-857F04B3702D}" dt="2022-04-13T08:03:01.362" v="1774" actId="1076"/>
          <ac:spMkLst>
            <pc:docMk/>
            <pc:sldMk cId="2993571560" sldId="439"/>
            <ac:spMk id="20" creationId="{9B4446A1-9D05-4CCF-93BA-4293D4150C97}"/>
          </ac:spMkLst>
        </pc:spChg>
        <pc:spChg chg="add mod">
          <ac:chgData name="Daniel Hamann" userId="847c405c-7417-4257-a34f-58113b877d74" providerId="ADAL" clId="{1173E080-8BED-4155-9D29-857F04B3702D}" dt="2022-04-13T07:59:58.569" v="1628" actId="14100"/>
          <ac:spMkLst>
            <pc:docMk/>
            <pc:sldMk cId="2993571560" sldId="439"/>
            <ac:spMk id="21" creationId="{5ECFA1C1-851E-490D-9594-9246BFAD0713}"/>
          </ac:spMkLst>
        </pc:spChg>
        <pc:spChg chg="add mod">
          <ac:chgData name="Daniel Hamann" userId="847c405c-7417-4257-a34f-58113b877d74" providerId="ADAL" clId="{1173E080-8BED-4155-9D29-857F04B3702D}" dt="2022-04-13T08:00:02.378" v="1629" actId="14100"/>
          <ac:spMkLst>
            <pc:docMk/>
            <pc:sldMk cId="2993571560" sldId="439"/>
            <ac:spMk id="22" creationId="{663EB220-3F98-49ED-90A7-667AFADE12F3}"/>
          </ac:spMkLst>
        </pc:spChg>
        <pc:spChg chg="add mod">
          <ac:chgData name="Daniel Hamann" userId="847c405c-7417-4257-a34f-58113b877d74" providerId="ADAL" clId="{1173E080-8BED-4155-9D29-857F04B3702D}" dt="2022-04-13T07:59:42.789" v="1602" actId="14100"/>
          <ac:spMkLst>
            <pc:docMk/>
            <pc:sldMk cId="2993571560" sldId="439"/>
            <ac:spMk id="23" creationId="{0CAB968B-9C95-4E26-8F16-B5570F001EC4}"/>
          </ac:spMkLst>
        </pc:spChg>
        <pc:spChg chg="add mod">
          <ac:chgData name="Daniel Hamann" userId="847c405c-7417-4257-a34f-58113b877d74" providerId="ADAL" clId="{1173E080-8BED-4155-9D29-857F04B3702D}" dt="2022-04-13T09:01:18.409" v="3653" actId="20577"/>
          <ac:spMkLst>
            <pc:docMk/>
            <pc:sldMk cId="2993571560" sldId="439"/>
            <ac:spMk id="24" creationId="{FDD5BC5D-F16D-4354-AC60-B3EAB096EE4C}"/>
          </ac:spMkLst>
        </pc:spChg>
        <pc:spChg chg="add mod">
          <ac:chgData name="Daniel Hamann" userId="847c405c-7417-4257-a34f-58113b877d74" providerId="ADAL" clId="{1173E080-8BED-4155-9D29-857F04B3702D}" dt="2022-04-13T09:01:25.058" v="3657" actId="20577"/>
          <ac:spMkLst>
            <pc:docMk/>
            <pc:sldMk cId="2993571560" sldId="439"/>
            <ac:spMk id="25" creationId="{FE03F208-878A-4CDC-AE08-70B4ABF9E597}"/>
          </ac:spMkLst>
        </pc:spChg>
        <pc:spChg chg="add mod">
          <ac:chgData name="Daniel Hamann" userId="847c405c-7417-4257-a34f-58113b877d74" providerId="ADAL" clId="{1173E080-8BED-4155-9D29-857F04B3702D}" dt="2022-04-13T09:01:21.763" v="3655" actId="20577"/>
          <ac:spMkLst>
            <pc:docMk/>
            <pc:sldMk cId="2993571560" sldId="439"/>
            <ac:spMk id="26" creationId="{C35EC40F-7FA7-4D73-BCB8-9F91FD0EC0CA}"/>
          </ac:spMkLst>
        </pc:spChg>
        <pc:spChg chg="add mod">
          <ac:chgData name="Daniel Hamann" userId="847c405c-7417-4257-a34f-58113b877d74" providerId="ADAL" clId="{1173E080-8BED-4155-9D29-857F04B3702D}" dt="2022-04-13T08:01:36.499" v="1649" actId="14100"/>
          <ac:spMkLst>
            <pc:docMk/>
            <pc:sldMk cId="2993571560" sldId="439"/>
            <ac:spMk id="27" creationId="{888DEE9C-81B7-4469-8D09-0E4855455F13}"/>
          </ac:spMkLst>
        </pc:spChg>
        <pc:spChg chg="add del mod">
          <ac:chgData name="Daniel Hamann" userId="847c405c-7417-4257-a34f-58113b877d74" providerId="ADAL" clId="{1173E080-8BED-4155-9D29-857F04B3702D}" dt="2022-04-13T08:01:41.368" v="1651"/>
          <ac:spMkLst>
            <pc:docMk/>
            <pc:sldMk cId="2993571560" sldId="439"/>
            <ac:spMk id="28" creationId="{CBC4BA70-51BE-4736-B7EF-6F7A161C6C16}"/>
          </ac:spMkLst>
        </pc:spChg>
        <pc:spChg chg="add mod">
          <ac:chgData name="Daniel Hamann" userId="847c405c-7417-4257-a34f-58113b877d74" providerId="ADAL" clId="{1173E080-8BED-4155-9D29-857F04B3702D}" dt="2022-04-13T09:01:27.853" v="3659" actId="20577"/>
          <ac:spMkLst>
            <pc:docMk/>
            <pc:sldMk cId="2993571560" sldId="439"/>
            <ac:spMk id="29" creationId="{3BA083F0-908D-40AD-AE96-5807D1E1296F}"/>
          </ac:spMkLst>
        </pc:spChg>
        <pc:grpChg chg="add mod">
          <ac:chgData name="Daniel Hamann" userId="847c405c-7417-4257-a34f-58113b877d74" providerId="ADAL" clId="{1173E080-8BED-4155-9D29-857F04B3702D}" dt="2022-04-13T08:03:30.467" v="1776" actId="1076"/>
          <ac:grpSpMkLst>
            <pc:docMk/>
            <pc:sldMk cId="2993571560" sldId="439"/>
            <ac:grpSpMk id="10" creationId="{8116DA52-809C-41F0-99C6-F9A996087888}"/>
          </ac:grpSpMkLst>
        </pc:grpChg>
        <pc:picChg chg="add mod modCrop">
          <ac:chgData name="Daniel Hamann" userId="847c405c-7417-4257-a34f-58113b877d74" providerId="ADAL" clId="{1173E080-8BED-4155-9D29-857F04B3702D}" dt="2022-04-13T07:59:30.796" v="1598" actId="1076"/>
          <ac:picMkLst>
            <pc:docMk/>
            <pc:sldMk cId="2993571560" sldId="439"/>
            <ac:picMk id="8" creationId="{D6E5F567-6207-49EC-9E4F-DCDB78BDC025}"/>
          </ac:picMkLst>
        </pc:picChg>
        <pc:picChg chg="add mod">
          <ac:chgData name="Daniel Hamann" userId="847c405c-7417-4257-a34f-58113b877d74" providerId="ADAL" clId="{1173E080-8BED-4155-9D29-857F04B3702D}" dt="2022-04-13T08:03:24.602" v="1775" actId="164"/>
          <ac:picMkLst>
            <pc:docMk/>
            <pc:sldMk cId="2993571560" sldId="439"/>
            <ac:picMk id="11" creationId="{6DF953EE-81A6-40D3-A7FA-3A7FD1C3F084}"/>
          </ac:picMkLst>
        </pc:picChg>
        <pc:picChg chg="add del mod">
          <ac:chgData name="Daniel Hamann" userId="847c405c-7417-4257-a34f-58113b877d74" providerId="ADAL" clId="{1173E080-8BED-4155-9D29-857F04B3702D}" dt="2022-04-13T07:54:42.954" v="1546" actId="478"/>
          <ac:picMkLst>
            <pc:docMk/>
            <pc:sldMk cId="2993571560" sldId="439"/>
            <ac:picMk id="12" creationId="{9D2203A0-953F-45A4-ACC7-84A8BE66562C}"/>
          </ac:picMkLst>
        </pc:picChg>
        <pc:picChg chg="del">
          <ac:chgData name="Daniel Hamann" userId="847c405c-7417-4257-a34f-58113b877d74" providerId="ADAL" clId="{1173E080-8BED-4155-9D29-857F04B3702D}" dt="2022-04-13T07:49:19.670" v="1317" actId="478"/>
          <ac:picMkLst>
            <pc:docMk/>
            <pc:sldMk cId="2993571560" sldId="439"/>
            <ac:picMk id="13" creationId="{0400C425-88CB-4C08-B157-634E101C4B2B}"/>
          </ac:picMkLst>
        </pc:picChg>
        <pc:picChg chg="del">
          <ac:chgData name="Daniel Hamann" userId="847c405c-7417-4257-a34f-58113b877d74" providerId="ADAL" clId="{1173E080-8BED-4155-9D29-857F04B3702D}" dt="2022-04-13T07:50:09.548" v="1326" actId="478"/>
          <ac:picMkLst>
            <pc:docMk/>
            <pc:sldMk cId="2993571560" sldId="439"/>
            <ac:picMk id="14" creationId="{7C9AF4EE-C81C-4008-B80D-AB4A898C2312}"/>
          </ac:picMkLst>
        </pc:picChg>
        <pc:picChg chg="add del mod">
          <ac:chgData name="Daniel Hamann" userId="847c405c-7417-4257-a34f-58113b877d74" providerId="ADAL" clId="{1173E080-8BED-4155-9D29-857F04B3702D}" dt="2022-04-13T08:07:33.429" v="1909" actId="478"/>
          <ac:picMkLst>
            <pc:docMk/>
            <pc:sldMk cId="2993571560" sldId="439"/>
            <ac:picMk id="18" creationId="{93BBA630-5D11-497E-A7D3-B7534CB2831B}"/>
          </ac:picMkLst>
        </pc:picChg>
      </pc:sldChg>
    </pc:docChg>
  </pc:docChgLst>
  <pc:docChgLst>
    <pc:chgData name="Claas Dibke" userId="ddcbaaf6-1c3b-47d3-adc9-2339165010e6" providerId="ADAL" clId="{09C448A6-06D1-43B9-93C3-21DA400932BD}"/>
    <pc:docChg chg="custSel modSld modMainMaster replTag">
      <pc:chgData name="Claas Dibke" userId="ddcbaaf6-1c3b-47d3-adc9-2339165010e6" providerId="ADAL" clId="{09C448A6-06D1-43B9-93C3-21DA400932BD}" dt="2022-02-18T12:11:47.070" v="158" actId="15"/>
      <pc:docMkLst>
        <pc:docMk/>
      </pc:docMkLst>
      <pc:sldChg chg="addSp delSp modSp mod">
        <pc:chgData name="Claas Dibke" userId="ddcbaaf6-1c3b-47d3-adc9-2339165010e6" providerId="ADAL" clId="{09C448A6-06D1-43B9-93C3-21DA400932BD}" dt="2022-02-18T12:09:34.031" v="157"/>
        <pc:sldMkLst>
          <pc:docMk/>
          <pc:sldMk cId="947004393" sldId="336"/>
        </pc:sldMkLst>
        <pc:spChg chg="add del mod modVis">
          <ac:chgData name="Claas Dibke" userId="ddcbaaf6-1c3b-47d3-adc9-2339165010e6" providerId="ADAL" clId="{09C448A6-06D1-43B9-93C3-21DA400932BD}" dt="2022-02-18T12:09:32.590" v="79"/>
          <ac:spMkLst>
            <pc:docMk/>
            <pc:sldMk cId="947004393" sldId="336"/>
            <ac:spMk id="2" creationId="{FE9A6511-B981-4B5F-9456-0D310FF542B7}"/>
          </ac:spMkLst>
        </pc:spChg>
        <pc:spChg chg="add del mod modVis">
          <ac:chgData name="Claas Dibke" userId="ddcbaaf6-1c3b-47d3-adc9-2339165010e6" providerId="ADAL" clId="{09C448A6-06D1-43B9-93C3-21DA400932BD}" dt="2022-02-18T12:09:34.029" v="155"/>
          <ac:spMkLst>
            <pc:docMk/>
            <pc:sldMk cId="947004393" sldId="336"/>
            <ac:spMk id="4" creationId="{9DB27942-CC68-4303-B840-658256C13165}"/>
          </ac:spMkLst>
        </pc:spChg>
        <pc:spChg chg="mod">
          <ac:chgData name="Claas Dibke" userId="ddcbaaf6-1c3b-47d3-adc9-2339165010e6" providerId="ADAL" clId="{09C448A6-06D1-43B9-93C3-21DA400932BD}" dt="2022-02-18T12:09:33.982" v="115" actId="948"/>
          <ac:spMkLst>
            <pc:docMk/>
            <pc:sldMk cId="947004393" sldId="336"/>
            <ac:spMk id="14" creationId="{B07F6F48-85B6-4FFA-9856-27CF4F35ACE8}"/>
          </ac:spMkLst>
        </pc:spChg>
        <pc:graphicFrameChg chg="add mod ord modVis replST">
          <ac:chgData name="Claas Dibke" userId="ddcbaaf6-1c3b-47d3-adc9-2339165010e6" providerId="ADAL" clId="{09C448A6-06D1-43B9-93C3-21DA400932BD}" dt="2022-02-18T12:09:34.031" v="157"/>
          <ac:graphicFrameMkLst>
            <pc:docMk/>
            <pc:sldMk cId="947004393" sldId="336"/>
            <ac:graphicFrameMk id="3" creationId="{8BFE861F-BC5A-4E6C-B1CC-485130A4C153}"/>
          </ac:graphicFrameMkLst>
        </pc:graphicFrameChg>
      </pc:sldChg>
      <pc:sldChg chg="modSp mod">
        <pc:chgData name="Claas Dibke" userId="ddcbaaf6-1c3b-47d3-adc9-2339165010e6" providerId="ADAL" clId="{09C448A6-06D1-43B9-93C3-21DA400932BD}" dt="2022-02-18T12:11:47.070" v="158" actId="15"/>
        <pc:sldMkLst>
          <pc:docMk/>
          <pc:sldMk cId="2497184076" sldId="378"/>
        </pc:sldMkLst>
        <pc:spChg chg="mod">
          <ac:chgData name="Claas Dibke" userId="ddcbaaf6-1c3b-47d3-adc9-2339165010e6" providerId="ADAL" clId="{09C448A6-06D1-43B9-93C3-21DA400932BD}" dt="2022-02-18T12:11:47.070" v="158" actId="15"/>
          <ac:spMkLst>
            <pc:docMk/>
            <pc:sldMk cId="2497184076" sldId="378"/>
            <ac:spMk id="10" creationId="{7A141C31-F668-415A-B4AA-1AD8755ED907}"/>
          </ac:spMkLst>
        </pc:spChg>
      </pc:sldChg>
      <pc:sldMasterChg chg="addSp delSp modSp mod">
        <pc:chgData name="Claas Dibke" userId="ddcbaaf6-1c3b-47d3-adc9-2339165010e6" providerId="ADAL" clId="{09C448A6-06D1-43B9-93C3-21DA400932BD}" dt="2022-02-18T12:09:32.728" v="113"/>
        <pc:sldMasterMkLst>
          <pc:docMk/>
          <pc:sldMasterMk cId="4171192528" sldId="2147483648"/>
        </pc:sldMasterMkLst>
        <pc:spChg chg="mod">
          <ac:chgData name="Claas Dibke" userId="ddcbaaf6-1c3b-47d3-adc9-2339165010e6" providerId="ADAL" clId="{09C448A6-06D1-43B9-93C3-21DA400932BD}" dt="2022-02-18T12:09:32.531" v="39" actId="948"/>
          <ac:spMkLst>
            <pc:docMk/>
            <pc:sldMasterMk cId="4171192528" sldId="2147483648"/>
            <ac:spMk id="2" creationId="{06838A31-5826-430D-8C02-F9E9B58F7A8C}"/>
          </ac:spMkLst>
        </pc:spChg>
        <pc:spChg chg="add del mod modVis">
          <ac:chgData name="Claas Dibke" userId="ddcbaaf6-1c3b-47d3-adc9-2339165010e6" providerId="ADAL" clId="{09C448A6-06D1-43B9-93C3-21DA400932BD}" dt="2022-02-18T12:09:32.704" v="97"/>
          <ac:spMkLst>
            <pc:docMk/>
            <pc:sldMasterMk cId="4171192528" sldId="2147483648"/>
            <ac:spMk id="4" creationId="{C081FAF1-B161-4177-9B44-EC7DC522A04B}"/>
          </ac:spMkLst>
        </pc:spChg>
        <pc:graphicFrameChg chg="add mod ord modVis replST">
          <ac:chgData name="Claas Dibke" userId="ddcbaaf6-1c3b-47d3-adc9-2339165010e6" providerId="ADAL" clId="{09C448A6-06D1-43B9-93C3-21DA400932BD}" dt="2022-02-18T12:09:32.728" v="113"/>
          <ac:graphicFrameMkLst>
            <pc:docMk/>
            <pc:sldMasterMk cId="4171192528" sldId="2147483648"/>
            <ac:graphicFrameMk id="5" creationId="{CDFF45E0-A3BD-43AA-8C26-2ACC16E53449}"/>
          </ac:graphicFrameMkLst>
        </pc:graphicFrameChg>
      </pc:sldMasterChg>
    </pc:docChg>
  </pc:docChgLst>
  <pc:docChgLst>
    <pc:chgData name="Daniel Hens" userId="d245be30-eed3-4780-b032-3be0c65e8ee8" providerId="ADAL" clId="{C5175244-04CA-44B5-B06E-253F5367FE2D}"/>
    <pc:docChg chg="undo custSel addSld delSld modSld addSection delSection modSection">
      <pc:chgData name="Daniel Hens" userId="d245be30-eed3-4780-b032-3be0c65e8ee8" providerId="ADAL" clId="{C5175244-04CA-44B5-B06E-253F5367FE2D}" dt="2022-03-25T12:57:41.137" v="11"/>
      <pc:docMkLst>
        <pc:docMk/>
      </pc:docMkLst>
      <pc:sldChg chg="modSp add del mod">
        <pc:chgData name="Daniel Hens" userId="d245be30-eed3-4780-b032-3be0c65e8ee8" providerId="ADAL" clId="{C5175244-04CA-44B5-B06E-253F5367FE2D}" dt="2022-03-25T12:57:41.137" v="11"/>
        <pc:sldMkLst>
          <pc:docMk/>
          <pc:sldMk cId="947004393" sldId="336"/>
        </pc:sldMkLst>
        <pc:graphicFrameChg chg="mod">
          <ac:chgData name="Daniel Hens" userId="d245be30-eed3-4780-b032-3be0c65e8ee8" providerId="ADAL" clId="{C5175244-04CA-44B5-B06E-253F5367FE2D}" dt="2022-03-25T12:57:41.137" v="11"/>
          <ac:graphicFrameMkLst>
            <pc:docMk/>
            <pc:sldMk cId="947004393" sldId="336"/>
            <ac:graphicFrameMk id="3" creationId="{8BFE861F-BC5A-4E6C-B1CC-485130A4C153}"/>
          </ac:graphicFrameMkLst>
        </pc:graphicFrameChg>
      </pc:sldChg>
      <pc:sldChg chg="add del">
        <pc:chgData name="Daniel Hens" userId="d245be30-eed3-4780-b032-3be0c65e8ee8" providerId="ADAL" clId="{C5175244-04CA-44B5-B06E-253F5367FE2D}" dt="2022-03-25T12:57:41.106" v="9" actId="47"/>
        <pc:sldMkLst>
          <pc:docMk/>
          <pc:sldMk cId="4155269180" sldId="337"/>
        </pc:sldMkLst>
      </pc:sldChg>
      <pc:sldChg chg="add del">
        <pc:chgData name="Daniel Hens" userId="d245be30-eed3-4780-b032-3be0c65e8ee8" providerId="ADAL" clId="{C5175244-04CA-44B5-B06E-253F5367FE2D}" dt="2022-03-25T12:57:41.106" v="9" actId="47"/>
        <pc:sldMkLst>
          <pc:docMk/>
          <pc:sldMk cId="3419691827" sldId="338"/>
        </pc:sldMkLst>
      </pc:sldChg>
      <pc:sldChg chg="add del">
        <pc:chgData name="Daniel Hens" userId="d245be30-eed3-4780-b032-3be0c65e8ee8" providerId="ADAL" clId="{C5175244-04CA-44B5-B06E-253F5367FE2D}" dt="2022-03-25T12:57:40.794" v="8" actId="47"/>
        <pc:sldMkLst>
          <pc:docMk/>
          <pc:sldMk cId="3038720959" sldId="339"/>
        </pc:sldMkLst>
      </pc:sldChg>
      <pc:sldChg chg="add del">
        <pc:chgData name="Daniel Hens" userId="d245be30-eed3-4780-b032-3be0c65e8ee8" providerId="ADAL" clId="{C5175244-04CA-44B5-B06E-253F5367FE2D}" dt="2022-03-25T12:57:40.794" v="8" actId="47"/>
        <pc:sldMkLst>
          <pc:docMk/>
          <pc:sldMk cId="254456047" sldId="340"/>
        </pc:sldMkLst>
      </pc:sldChg>
      <pc:sldChg chg="add del">
        <pc:chgData name="Daniel Hens" userId="d245be30-eed3-4780-b032-3be0c65e8ee8" providerId="ADAL" clId="{C5175244-04CA-44B5-B06E-253F5367FE2D}" dt="2022-03-25T12:57:40.794" v="8" actId="47"/>
        <pc:sldMkLst>
          <pc:docMk/>
          <pc:sldMk cId="1370879864" sldId="341"/>
        </pc:sldMkLst>
      </pc:sldChg>
      <pc:sldChg chg="add del">
        <pc:chgData name="Daniel Hens" userId="d245be30-eed3-4780-b032-3be0c65e8ee8" providerId="ADAL" clId="{C5175244-04CA-44B5-B06E-253F5367FE2D}" dt="2022-03-25T12:57:40.794" v="8" actId="47"/>
        <pc:sldMkLst>
          <pc:docMk/>
          <pc:sldMk cId="684844852" sldId="343"/>
        </pc:sldMkLst>
      </pc:sldChg>
      <pc:sldChg chg="add del">
        <pc:chgData name="Daniel Hens" userId="d245be30-eed3-4780-b032-3be0c65e8ee8" providerId="ADAL" clId="{C5175244-04CA-44B5-B06E-253F5367FE2D}" dt="2022-03-25T12:57:40.794" v="8" actId="47"/>
        <pc:sldMkLst>
          <pc:docMk/>
          <pc:sldMk cId="31543976" sldId="344"/>
        </pc:sldMkLst>
      </pc:sldChg>
      <pc:sldChg chg="add del">
        <pc:chgData name="Daniel Hens" userId="d245be30-eed3-4780-b032-3be0c65e8ee8" providerId="ADAL" clId="{C5175244-04CA-44B5-B06E-253F5367FE2D}" dt="2022-03-25T12:57:40.794" v="8" actId="47"/>
        <pc:sldMkLst>
          <pc:docMk/>
          <pc:sldMk cId="1835701110" sldId="345"/>
        </pc:sldMkLst>
      </pc:sldChg>
      <pc:sldChg chg="add del">
        <pc:chgData name="Daniel Hens" userId="d245be30-eed3-4780-b032-3be0c65e8ee8" providerId="ADAL" clId="{C5175244-04CA-44B5-B06E-253F5367FE2D}" dt="2022-03-25T12:57:40.794" v="8" actId="47"/>
        <pc:sldMkLst>
          <pc:docMk/>
          <pc:sldMk cId="1524813662" sldId="346"/>
        </pc:sldMkLst>
      </pc:sldChg>
      <pc:sldChg chg="add del">
        <pc:chgData name="Daniel Hens" userId="d245be30-eed3-4780-b032-3be0c65e8ee8" providerId="ADAL" clId="{C5175244-04CA-44B5-B06E-253F5367FE2D}" dt="2022-03-25T12:57:40.794" v="8" actId="47"/>
        <pc:sldMkLst>
          <pc:docMk/>
          <pc:sldMk cId="336045514" sldId="347"/>
        </pc:sldMkLst>
      </pc:sldChg>
      <pc:sldChg chg="add del">
        <pc:chgData name="Daniel Hens" userId="d245be30-eed3-4780-b032-3be0c65e8ee8" providerId="ADAL" clId="{C5175244-04CA-44B5-B06E-253F5367FE2D}" dt="2022-03-25T12:57:40.794" v="8" actId="47"/>
        <pc:sldMkLst>
          <pc:docMk/>
          <pc:sldMk cId="3315295276" sldId="348"/>
        </pc:sldMkLst>
      </pc:sldChg>
      <pc:sldChg chg="add del">
        <pc:chgData name="Daniel Hens" userId="d245be30-eed3-4780-b032-3be0c65e8ee8" providerId="ADAL" clId="{C5175244-04CA-44B5-B06E-253F5367FE2D}" dt="2022-03-25T12:57:40.794" v="8" actId="47"/>
        <pc:sldMkLst>
          <pc:docMk/>
          <pc:sldMk cId="745662442" sldId="349"/>
        </pc:sldMkLst>
      </pc:sldChg>
      <pc:sldChg chg="add del">
        <pc:chgData name="Daniel Hens" userId="d245be30-eed3-4780-b032-3be0c65e8ee8" providerId="ADAL" clId="{C5175244-04CA-44B5-B06E-253F5367FE2D}" dt="2022-03-25T12:57:40.794" v="8" actId="47"/>
        <pc:sldMkLst>
          <pc:docMk/>
          <pc:sldMk cId="3354830306" sldId="350"/>
        </pc:sldMkLst>
      </pc:sldChg>
      <pc:sldChg chg="add del">
        <pc:chgData name="Daniel Hens" userId="d245be30-eed3-4780-b032-3be0c65e8ee8" providerId="ADAL" clId="{C5175244-04CA-44B5-B06E-253F5367FE2D}" dt="2022-03-25T12:57:40.794" v="8" actId="47"/>
        <pc:sldMkLst>
          <pc:docMk/>
          <pc:sldMk cId="1466448892" sldId="351"/>
        </pc:sldMkLst>
      </pc:sldChg>
      <pc:sldChg chg="add del">
        <pc:chgData name="Daniel Hens" userId="d245be30-eed3-4780-b032-3be0c65e8ee8" providerId="ADAL" clId="{C5175244-04CA-44B5-B06E-253F5367FE2D}" dt="2022-03-25T12:57:40.794" v="8" actId="47"/>
        <pc:sldMkLst>
          <pc:docMk/>
          <pc:sldMk cId="2704760124" sldId="352"/>
        </pc:sldMkLst>
      </pc:sldChg>
      <pc:sldChg chg="add del">
        <pc:chgData name="Daniel Hens" userId="d245be30-eed3-4780-b032-3be0c65e8ee8" providerId="ADAL" clId="{C5175244-04CA-44B5-B06E-253F5367FE2D}" dt="2022-03-25T12:57:40.794" v="8" actId="47"/>
        <pc:sldMkLst>
          <pc:docMk/>
          <pc:sldMk cId="2191268248" sldId="353"/>
        </pc:sldMkLst>
      </pc:sldChg>
      <pc:sldChg chg="add del">
        <pc:chgData name="Daniel Hens" userId="d245be30-eed3-4780-b032-3be0c65e8ee8" providerId="ADAL" clId="{C5175244-04CA-44B5-B06E-253F5367FE2D}" dt="2022-03-25T12:57:40.794" v="8" actId="47"/>
        <pc:sldMkLst>
          <pc:docMk/>
          <pc:sldMk cId="2037418230" sldId="354"/>
        </pc:sldMkLst>
      </pc:sldChg>
      <pc:sldChg chg="add del">
        <pc:chgData name="Daniel Hens" userId="d245be30-eed3-4780-b032-3be0c65e8ee8" providerId="ADAL" clId="{C5175244-04CA-44B5-B06E-253F5367FE2D}" dt="2022-03-25T12:57:40.794" v="8" actId="47"/>
        <pc:sldMkLst>
          <pc:docMk/>
          <pc:sldMk cId="302905050" sldId="355"/>
        </pc:sldMkLst>
      </pc:sldChg>
      <pc:sldChg chg="add del">
        <pc:chgData name="Daniel Hens" userId="d245be30-eed3-4780-b032-3be0c65e8ee8" providerId="ADAL" clId="{C5175244-04CA-44B5-B06E-253F5367FE2D}" dt="2022-03-25T12:57:40.794" v="8" actId="47"/>
        <pc:sldMkLst>
          <pc:docMk/>
          <pc:sldMk cId="2187347484" sldId="356"/>
        </pc:sldMkLst>
      </pc:sldChg>
      <pc:sldChg chg="add del">
        <pc:chgData name="Daniel Hens" userId="d245be30-eed3-4780-b032-3be0c65e8ee8" providerId="ADAL" clId="{C5175244-04CA-44B5-B06E-253F5367FE2D}" dt="2022-03-25T12:57:41.106" v="9" actId="47"/>
        <pc:sldMkLst>
          <pc:docMk/>
          <pc:sldMk cId="1630686082" sldId="359"/>
        </pc:sldMkLst>
      </pc:sldChg>
      <pc:sldChg chg="add del">
        <pc:chgData name="Daniel Hens" userId="d245be30-eed3-4780-b032-3be0c65e8ee8" providerId="ADAL" clId="{C5175244-04CA-44B5-B06E-253F5367FE2D}" dt="2022-03-25T12:57:40.794" v="8" actId="47"/>
        <pc:sldMkLst>
          <pc:docMk/>
          <pc:sldMk cId="4197691444" sldId="360"/>
        </pc:sldMkLst>
      </pc:sldChg>
      <pc:sldChg chg="add del">
        <pc:chgData name="Daniel Hens" userId="d245be30-eed3-4780-b032-3be0c65e8ee8" providerId="ADAL" clId="{C5175244-04CA-44B5-B06E-253F5367FE2D}" dt="2022-03-25T12:57:40.794" v="8" actId="47"/>
        <pc:sldMkLst>
          <pc:docMk/>
          <pc:sldMk cId="206669884" sldId="361"/>
        </pc:sldMkLst>
      </pc:sldChg>
      <pc:sldChg chg="add del">
        <pc:chgData name="Daniel Hens" userId="d245be30-eed3-4780-b032-3be0c65e8ee8" providerId="ADAL" clId="{C5175244-04CA-44B5-B06E-253F5367FE2D}" dt="2022-03-25T12:57:40.794" v="8" actId="47"/>
        <pc:sldMkLst>
          <pc:docMk/>
          <pc:sldMk cId="1326743884" sldId="362"/>
        </pc:sldMkLst>
      </pc:sldChg>
      <pc:sldChg chg="add del">
        <pc:chgData name="Daniel Hens" userId="d245be30-eed3-4780-b032-3be0c65e8ee8" providerId="ADAL" clId="{C5175244-04CA-44B5-B06E-253F5367FE2D}" dt="2022-03-25T12:57:40.794" v="8" actId="47"/>
        <pc:sldMkLst>
          <pc:docMk/>
          <pc:sldMk cId="19210300" sldId="363"/>
        </pc:sldMkLst>
      </pc:sldChg>
      <pc:sldChg chg="addSp delSp modSp mod">
        <pc:chgData name="Daniel Hens" userId="d245be30-eed3-4780-b032-3be0c65e8ee8" providerId="ADAL" clId="{C5175244-04CA-44B5-B06E-253F5367FE2D}" dt="2022-03-25T12:57:40.363" v="6" actId="478"/>
        <pc:sldMkLst>
          <pc:docMk/>
          <pc:sldMk cId="33598816" sldId="364"/>
        </pc:sldMkLst>
        <pc:spChg chg="add del mod">
          <ac:chgData name="Daniel Hens" userId="d245be30-eed3-4780-b032-3be0c65e8ee8" providerId="ADAL" clId="{C5175244-04CA-44B5-B06E-253F5367FE2D}" dt="2022-03-25T12:57:40.363" v="6" actId="478"/>
          <ac:spMkLst>
            <pc:docMk/>
            <pc:sldMk cId="33598816" sldId="364"/>
            <ac:spMk id="5" creationId="{80DE910B-62B7-4C55-9E1C-99FC4912B38C}"/>
          </ac:spMkLst>
        </pc:spChg>
        <pc:spChg chg="add del">
          <ac:chgData name="Daniel Hens" userId="d245be30-eed3-4780-b032-3be0c65e8ee8" providerId="ADAL" clId="{C5175244-04CA-44B5-B06E-253F5367FE2D}" dt="2022-03-25T12:57:40.363" v="6" actId="478"/>
          <ac:spMkLst>
            <pc:docMk/>
            <pc:sldMk cId="33598816" sldId="364"/>
            <ac:spMk id="10" creationId="{560D351C-B0BC-4A96-A22E-DB4BEB931C3E}"/>
          </ac:spMkLst>
        </pc:spChg>
      </pc:sldChg>
      <pc:sldChg chg="add del">
        <pc:chgData name="Daniel Hens" userId="d245be30-eed3-4780-b032-3be0c65e8ee8" providerId="ADAL" clId="{C5175244-04CA-44B5-B06E-253F5367FE2D}" dt="2022-03-25T12:57:40.794" v="8" actId="47"/>
        <pc:sldMkLst>
          <pc:docMk/>
          <pc:sldMk cId="1592159595" sldId="365"/>
        </pc:sldMkLst>
      </pc:sldChg>
      <pc:sldChg chg="add del">
        <pc:chgData name="Daniel Hens" userId="d245be30-eed3-4780-b032-3be0c65e8ee8" providerId="ADAL" clId="{C5175244-04CA-44B5-B06E-253F5367FE2D}" dt="2022-03-25T12:57:40.794" v="8" actId="47"/>
        <pc:sldMkLst>
          <pc:docMk/>
          <pc:sldMk cId="3940856595" sldId="366"/>
        </pc:sldMkLst>
      </pc:sldChg>
      <pc:sldChg chg="add del">
        <pc:chgData name="Daniel Hens" userId="d245be30-eed3-4780-b032-3be0c65e8ee8" providerId="ADAL" clId="{C5175244-04CA-44B5-B06E-253F5367FE2D}" dt="2022-03-25T12:57:40.794" v="8" actId="47"/>
        <pc:sldMkLst>
          <pc:docMk/>
          <pc:sldMk cId="1014320215" sldId="367"/>
        </pc:sldMkLst>
      </pc:sldChg>
      <pc:sldChg chg="add del">
        <pc:chgData name="Daniel Hens" userId="d245be30-eed3-4780-b032-3be0c65e8ee8" providerId="ADAL" clId="{C5175244-04CA-44B5-B06E-253F5367FE2D}" dt="2022-03-25T12:57:40.794" v="8" actId="47"/>
        <pc:sldMkLst>
          <pc:docMk/>
          <pc:sldMk cId="874914692" sldId="368"/>
        </pc:sldMkLst>
      </pc:sldChg>
      <pc:sldChg chg="add del">
        <pc:chgData name="Daniel Hens" userId="d245be30-eed3-4780-b032-3be0c65e8ee8" providerId="ADAL" clId="{C5175244-04CA-44B5-B06E-253F5367FE2D}" dt="2022-03-25T12:57:40.794" v="8" actId="47"/>
        <pc:sldMkLst>
          <pc:docMk/>
          <pc:sldMk cId="2223883424" sldId="369"/>
        </pc:sldMkLst>
      </pc:sldChg>
      <pc:sldChg chg="add del">
        <pc:chgData name="Daniel Hens" userId="d245be30-eed3-4780-b032-3be0c65e8ee8" providerId="ADAL" clId="{C5175244-04CA-44B5-B06E-253F5367FE2D}" dt="2022-03-25T12:57:40.794" v="8" actId="47"/>
        <pc:sldMkLst>
          <pc:docMk/>
          <pc:sldMk cId="2086820258" sldId="372"/>
        </pc:sldMkLst>
      </pc:sldChg>
      <pc:sldChg chg="add del">
        <pc:chgData name="Daniel Hens" userId="d245be30-eed3-4780-b032-3be0c65e8ee8" providerId="ADAL" clId="{C5175244-04CA-44B5-B06E-253F5367FE2D}" dt="2022-03-25T12:57:40.794" v="8" actId="47"/>
        <pc:sldMkLst>
          <pc:docMk/>
          <pc:sldMk cId="1758373318" sldId="373"/>
        </pc:sldMkLst>
      </pc:sldChg>
      <pc:sldChg chg="add del">
        <pc:chgData name="Daniel Hens" userId="d245be30-eed3-4780-b032-3be0c65e8ee8" providerId="ADAL" clId="{C5175244-04CA-44B5-B06E-253F5367FE2D}" dt="2022-03-25T12:57:40.794" v="8" actId="47"/>
        <pc:sldMkLst>
          <pc:docMk/>
          <pc:sldMk cId="3392096116" sldId="374"/>
        </pc:sldMkLst>
      </pc:sldChg>
      <pc:sldChg chg="add del">
        <pc:chgData name="Daniel Hens" userId="d245be30-eed3-4780-b032-3be0c65e8ee8" providerId="ADAL" clId="{C5175244-04CA-44B5-B06E-253F5367FE2D}" dt="2022-03-25T12:57:40.794" v="8" actId="47"/>
        <pc:sldMkLst>
          <pc:docMk/>
          <pc:sldMk cId="3615068782" sldId="375"/>
        </pc:sldMkLst>
      </pc:sldChg>
      <pc:sldChg chg="add del">
        <pc:chgData name="Daniel Hens" userId="d245be30-eed3-4780-b032-3be0c65e8ee8" providerId="ADAL" clId="{C5175244-04CA-44B5-B06E-253F5367FE2D}" dt="2022-03-25T12:57:40.794" v="8" actId="47"/>
        <pc:sldMkLst>
          <pc:docMk/>
          <pc:sldMk cId="3852887038" sldId="376"/>
        </pc:sldMkLst>
      </pc:sldChg>
      <pc:sldChg chg="add del">
        <pc:chgData name="Daniel Hens" userId="d245be30-eed3-4780-b032-3be0c65e8ee8" providerId="ADAL" clId="{C5175244-04CA-44B5-B06E-253F5367FE2D}" dt="2022-03-25T12:57:41.106" v="9" actId="47"/>
        <pc:sldMkLst>
          <pc:docMk/>
          <pc:sldMk cId="2497184076" sldId="378"/>
        </pc:sldMkLst>
      </pc:sldChg>
      <pc:sldChg chg="add del">
        <pc:chgData name="Daniel Hens" userId="d245be30-eed3-4780-b032-3be0c65e8ee8" providerId="ADAL" clId="{C5175244-04CA-44B5-B06E-253F5367FE2D}" dt="2022-03-25T12:57:41.106" v="9" actId="47"/>
        <pc:sldMkLst>
          <pc:docMk/>
          <pc:sldMk cId="941330492" sldId="379"/>
        </pc:sldMkLst>
      </pc:sldChg>
      <pc:sldChg chg="add del">
        <pc:chgData name="Daniel Hens" userId="d245be30-eed3-4780-b032-3be0c65e8ee8" providerId="ADAL" clId="{C5175244-04CA-44B5-B06E-253F5367FE2D}" dt="2022-03-25T12:57:41.106" v="9" actId="47"/>
        <pc:sldMkLst>
          <pc:docMk/>
          <pc:sldMk cId="216177301" sldId="380"/>
        </pc:sldMkLst>
      </pc:sldChg>
      <pc:sldChg chg="add del">
        <pc:chgData name="Daniel Hens" userId="d245be30-eed3-4780-b032-3be0c65e8ee8" providerId="ADAL" clId="{C5175244-04CA-44B5-B06E-253F5367FE2D}" dt="2022-03-25T12:57:40.794" v="8" actId="47"/>
        <pc:sldMkLst>
          <pc:docMk/>
          <pc:sldMk cId="2169851743" sldId="382"/>
        </pc:sldMkLst>
      </pc:sldChg>
      <pc:sldChg chg="add del">
        <pc:chgData name="Daniel Hens" userId="d245be30-eed3-4780-b032-3be0c65e8ee8" providerId="ADAL" clId="{C5175244-04CA-44B5-B06E-253F5367FE2D}" dt="2022-03-25T12:57:41.106" v="9" actId="47"/>
        <pc:sldMkLst>
          <pc:docMk/>
          <pc:sldMk cId="1045533942" sldId="384"/>
        </pc:sldMkLst>
      </pc:sldChg>
      <pc:sldChg chg="add del">
        <pc:chgData name="Daniel Hens" userId="d245be30-eed3-4780-b032-3be0c65e8ee8" providerId="ADAL" clId="{C5175244-04CA-44B5-B06E-253F5367FE2D}" dt="2022-03-25T12:57:41.106" v="9" actId="47"/>
        <pc:sldMkLst>
          <pc:docMk/>
          <pc:sldMk cId="1769863677" sldId="385"/>
        </pc:sldMkLst>
      </pc:sldChg>
      <pc:sldChg chg="add del">
        <pc:chgData name="Daniel Hens" userId="d245be30-eed3-4780-b032-3be0c65e8ee8" providerId="ADAL" clId="{C5175244-04CA-44B5-B06E-253F5367FE2D}" dt="2022-03-25T12:57:40.794" v="8" actId="47"/>
        <pc:sldMkLst>
          <pc:docMk/>
          <pc:sldMk cId="904502109" sldId="386"/>
        </pc:sldMkLst>
      </pc:sldChg>
      <pc:sldChg chg="add del">
        <pc:chgData name="Daniel Hens" userId="d245be30-eed3-4780-b032-3be0c65e8ee8" providerId="ADAL" clId="{C5175244-04CA-44B5-B06E-253F5367FE2D}" dt="2022-03-25T12:57:40.794" v="8" actId="47"/>
        <pc:sldMkLst>
          <pc:docMk/>
          <pc:sldMk cId="1181553170" sldId="387"/>
        </pc:sldMkLst>
      </pc:sldChg>
      <pc:sldChg chg="add del">
        <pc:chgData name="Daniel Hens" userId="d245be30-eed3-4780-b032-3be0c65e8ee8" providerId="ADAL" clId="{C5175244-04CA-44B5-B06E-253F5367FE2D}" dt="2022-03-25T12:57:40.794" v="8" actId="47"/>
        <pc:sldMkLst>
          <pc:docMk/>
          <pc:sldMk cId="2311678989" sldId="388"/>
        </pc:sldMkLst>
      </pc:sldChg>
      <pc:sldChg chg="add del">
        <pc:chgData name="Daniel Hens" userId="d245be30-eed3-4780-b032-3be0c65e8ee8" providerId="ADAL" clId="{C5175244-04CA-44B5-B06E-253F5367FE2D}" dt="2022-03-25T12:57:40.794" v="8" actId="47"/>
        <pc:sldMkLst>
          <pc:docMk/>
          <pc:sldMk cId="1686671835" sldId="389"/>
        </pc:sldMkLst>
      </pc:sldChg>
      <pc:sldChg chg="add del">
        <pc:chgData name="Daniel Hens" userId="d245be30-eed3-4780-b032-3be0c65e8ee8" providerId="ADAL" clId="{C5175244-04CA-44B5-B06E-253F5367FE2D}" dt="2022-03-25T12:57:40.794" v="8" actId="47"/>
        <pc:sldMkLst>
          <pc:docMk/>
          <pc:sldMk cId="590577401" sldId="391"/>
        </pc:sldMkLst>
      </pc:sldChg>
      <pc:sldChg chg="add del">
        <pc:chgData name="Daniel Hens" userId="d245be30-eed3-4780-b032-3be0c65e8ee8" providerId="ADAL" clId="{C5175244-04CA-44B5-B06E-253F5367FE2D}" dt="2022-03-25T12:57:40.794" v="8" actId="47"/>
        <pc:sldMkLst>
          <pc:docMk/>
          <pc:sldMk cId="2824741347" sldId="422"/>
        </pc:sldMkLst>
      </pc:sldChg>
      <pc:sldChg chg="add del">
        <pc:chgData name="Daniel Hens" userId="d245be30-eed3-4780-b032-3be0c65e8ee8" providerId="ADAL" clId="{C5175244-04CA-44B5-B06E-253F5367FE2D}" dt="2022-03-25T12:57:40.794" v="8" actId="47"/>
        <pc:sldMkLst>
          <pc:docMk/>
          <pc:sldMk cId="737801744" sldId="42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4C892B93-AFBB-476D-B9C2-77789C615A3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C9C7441-E9C1-4BB5-B78E-255365725D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437222-9D39-4E54-B21C-C7D845DDACF8}" type="datetimeFigureOut">
              <a:rPr lang="de-DE" smtClean="0"/>
              <a:t>11.06.23</a:t>
            </a:fld>
            <a:endParaRPr lang="de-DE"/>
          </a:p>
        </p:txBody>
      </p:sp>
      <p:sp>
        <p:nvSpPr>
          <p:cNvPr id="4" name="Fußzeilenplatzhalter 3">
            <a:extLst>
              <a:ext uri="{FF2B5EF4-FFF2-40B4-BE49-F238E27FC236}">
                <a16:creationId xmlns:a16="http://schemas.microsoft.com/office/drawing/2014/main" id="{1CA7648F-5867-4553-94E5-C795E073C8C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B144397-9448-4129-A006-24D512AA19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A64263-1DEB-40BC-AFDD-B419E9331C7B}" type="slidenum">
              <a:rPr lang="de-DE" smtClean="0"/>
              <a:t>‹#›</a:t>
            </a:fld>
            <a:endParaRPr lang="de-DE"/>
          </a:p>
        </p:txBody>
      </p:sp>
    </p:spTree>
    <p:extLst>
      <p:ext uri="{BB962C8B-B14F-4D97-AF65-F5344CB8AC3E}">
        <p14:creationId xmlns:p14="http://schemas.microsoft.com/office/powerpoint/2010/main" val="1230036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660404-EB44-46E0-A99C-B3FB510EE02D}" type="datetimeFigureOut">
              <a:rPr lang="de-DE" smtClean="0"/>
              <a:t>11.06.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8FE370-A48C-4559-8DC8-9B0AF4A2C526}" type="slidenum">
              <a:rPr lang="de-DE" smtClean="0"/>
              <a:t>‹#›</a:t>
            </a:fld>
            <a:endParaRPr lang="de-DE"/>
          </a:p>
        </p:txBody>
      </p:sp>
    </p:spTree>
    <p:extLst>
      <p:ext uri="{BB962C8B-B14F-4D97-AF65-F5344CB8AC3E}">
        <p14:creationId xmlns:p14="http://schemas.microsoft.com/office/powerpoint/2010/main" val="3041400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B98FE370-A48C-4559-8DC8-9B0AF4A2C526}" type="slidenum">
              <a:rPr lang="de-DE" smtClean="0"/>
              <a:t>1</a:t>
            </a:fld>
            <a:endParaRPr lang="de-DE"/>
          </a:p>
        </p:txBody>
      </p:sp>
    </p:spTree>
    <p:extLst>
      <p:ext uri="{BB962C8B-B14F-4D97-AF65-F5344CB8AC3E}">
        <p14:creationId xmlns:p14="http://schemas.microsoft.com/office/powerpoint/2010/main" val="2977159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Titel_zweizeilig_Option">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346EF30F-5F5D-428E-A5D2-04069DB87655}"/>
              </a:ext>
            </a:extLst>
          </p:cNvPr>
          <p:cNvSpPr>
            <a:spLocks noGrp="1"/>
          </p:cNvSpPr>
          <p:nvPr>
            <p:ph type="pic" sz="quarter" idx="12" hasCustomPrompt="1"/>
          </p:nvPr>
        </p:nvSpPr>
        <p:spPr>
          <a:xfrm>
            <a:off x="5334001" y="1"/>
            <a:ext cx="6858001" cy="6857999"/>
          </a:xfrm>
          <a:custGeom>
            <a:avLst/>
            <a:gdLst>
              <a:gd name="connsiteX0" fmla="*/ 4589999 w 6858001"/>
              <a:gd name="connsiteY0" fmla="*/ 4590000 h 6857999"/>
              <a:gd name="connsiteX1" fmla="*/ 6858001 w 6858001"/>
              <a:gd name="connsiteY1" fmla="*/ 4590000 h 6857999"/>
              <a:gd name="connsiteX2" fmla="*/ 6858001 w 6858001"/>
              <a:gd name="connsiteY2" fmla="*/ 6857999 h 6857999"/>
              <a:gd name="connsiteX3" fmla="*/ 4589999 w 6858001"/>
              <a:gd name="connsiteY3" fmla="*/ 6857999 h 6857999"/>
              <a:gd name="connsiteX4" fmla="*/ 2303999 w 6858001"/>
              <a:gd name="connsiteY4" fmla="*/ 4590000 h 6857999"/>
              <a:gd name="connsiteX5" fmla="*/ 4553999 w 6858001"/>
              <a:gd name="connsiteY5" fmla="*/ 4590000 h 6857999"/>
              <a:gd name="connsiteX6" fmla="*/ 4553999 w 6858001"/>
              <a:gd name="connsiteY6" fmla="*/ 6857999 h 6857999"/>
              <a:gd name="connsiteX7" fmla="*/ 2303999 w 6858001"/>
              <a:gd name="connsiteY7" fmla="*/ 6857999 h 6857999"/>
              <a:gd name="connsiteX8" fmla="*/ 4589999 w 6858001"/>
              <a:gd name="connsiteY8" fmla="*/ 2303999 h 6857999"/>
              <a:gd name="connsiteX9" fmla="*/ 6858001 w 6858001"/>
              <a:gd name="connsiteY9" fmla="*/ 2303999 h 6857999"/>
              <a:gd name="connsiteX10" fmla="*/ 6858001 w 6858001"/>
              <a:gd name="connsiteY10" fmla="*/ 4554000 h 6857999"/>
              <a:gd name="connsiteX11" fmla="*/ 4589999 w 6858001"/>
              <a:gd name="connsiteY11" fmla="*/ 4554000 h 6857999"/>
              <a:gd name="connsiteX12" fmla="*/ 2303999 w 6858001"/>
              <a:gd name="connsiteY12" fmla="*/ 2303999 h 6857999"/>
              <a:gd name="connsiteX13" fmla="*/ 4553999 w 6858001"/>
              <a:gd name="connsiteY13" fmla="*/ 2303999 h 6857999"/>
              <a:gd name="connsiteX14" fmla="*/ 4553999 w 6858001"/>
              <a:gd name="connsiteY14" fmla="*/ 4554000 h 6857999"/>
              <a:gd name="connsiteX15" fmla="*/ 2303999 w 6858001"/>
              <a:gd name="connsiteY15" fmla="*/ 4554000 h 6857999"/>
              <a:gd name="connsiteX16" fmla="*/ 0 w 6858001"/>
              <a:gd name="connsiteY16" fmla="*/ 2303999 h 6857999"/>
              <a:gd name="connsiteX17" fmla="*/ 2267999 w 6858001"/>
              <a:gd name="connsiteY17" fmla="*/ 2303999 h 6857999"/>
              <a:gd name="connsiteX18" fmla="*/ 2267999 w 6858001"/>
              <a:gd name="connsiteY18" fmla="*/ 4554000 h 6857999"/>
              <a:gd name="connsiteX19" fmla="*/ 0 w 6858001"/>
              <a:gd name="connsiteY19" fmla="*/ 4554000 h 6857999"/>
              <a:gd name="connsiteX20" fmla="*/ 2303999 w 6858001"/>
              <a:gd name="connsiteY20" fmla="*/ 0 h 6857999"/>
              <a:gd name="connsiteX21" fmla="*/ 4553999 w 6858001"/>
              <a:gd name="connsiteY21" fmla="*/ 0 h 6857999"/>
              <a:gd name="connsiteX22" fmla="*/ 4553999 w 6858001"/>
              <a:gd name="connsiteY22" fmla="*/ 2267999 h 6857999"/>
              <a:gd name="connsiteX23" fmla="*/ 2303999 w 6858001"/>
              <a:gd name="connsiteY23" fmla="*/ 226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1" h="6857999">
                <a:moveTo>
                  <a:pt x="4589999" y="4590000"/>
                </a:moveTo>
                <a:lnTo>
                  <a:pt x="6858001" y="4590000"/>
                </a:lnTo>
                <a:lnTo>
                  <a:pt x="6858001" y="6857999"/>
                </a:lnTo>
                <a:lnTo>
                  <a:pt x="4589999" y="6857999"/>
                </a:lnTo>
                <a:close/>
                <a:moveTo>
                  <a:pt x="2303999" y="4590000"/>
                </a:moveTo>
                <a:lnTo>
                  <a:pt x="4553999" y="4590000"/>
                </a:lnTo>
                <a:lnTo>
                  <a:pt x="4553999" y="6857999"/>
                </a:lnTo>
                <a:lnTo>
                  <a:pt x="2303999" y="6857999"/>
                </a:lnTo>
                <a:close/>
                <a:moveTo>
                  <a:pt x="4589999" y="2303999"/>
                </a:moveTo>
                <a:lnTo>
                  <a:pt x="6858001" y="2303999"/>
                </a:lnTo>
                <a:lnTo>
                  <a:pt x="6858001" y="4554000"/>
                </a:lnTo>
                <a:lnTo>
                  <a:pt x="4589999" y="4554000"/>
                </a:lnTo>
                <a:close/>
                <a:moveTo>
                  <a:pt x="2303999" y="2303999"/>
                </a:moveTo>
                <a:lnTo>
                  <a:pt x="4553999" y="2303999"/>
                </a:lnTo>
                <a:lnTo>
                  <a:pt x="4553999" y="4554000"/>
                </a:lnTo>
                <a:lnTo>
                  <a:pt x="2303999" y="4554000"/>
                </a:lnTo>
                <a:close/>
                <a:moveTo>
                  <a:pt x="0" y="2303999"/>
                </a:moveTo>
                <a:lnTo>
                  <a:pt x="2267999" y="2303999"/>
                </a:lnTo>
                <a:lnTo>
                  <a:pt x="2267999" y="4554000"/>
                </a:lnTo>
                <a:lnTo>
                  <a:pt x="0" y="4554000"/>
                </a:lnTo>
                <a:close/>
                <a:moveTo>
                  <a:pt x="2303999" y="0"/>
                </a:moveTo>
                <a:lnTo>
                  <a:pt x="4553999" y="0"/>
                </a:lnTo>
                <a:lnTo>
                  <a:pt x="4553999" y="2267999"/>
                </a:lnTo>
                <a:lnTo>
                  <a:pt x="2303999" y="2267999"/>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21" name="Gerader Verbinder 20">
            <a:extLst>
              <a:ext uri="{FF2B5EF4-FFF2-40B4-BE49-F238E27FC236}">
                <a16:creationId xmlns:a16="http://schemas.microsoft.com/office/drawing/2014/main" id="{14A9E4E2-CA0F-4870-B2E7-7C70679F486C}"/>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B4399AFD-BBE0-480A-9ED7-3E2F2ABEA89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4" name="Gerader Verbinder 23">
            <a:extLst>
              <a:ext uri="{FF2B5EF4-FFF2-40B4-BE49-F238E27FC236}">
                <a16:creationId xmlns:a16="http://schemas.microsoft.com/office/drawing/2014/main" id="{1A766794-13BA-45E4-BBDF-4CC9505DBE0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77F88B12-7850-434E-BFD0-0CCC70021B2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34" name="Gerader Verbinder 33">
            <a:extLst>
              <a:ext uri="{FF2B5EF4-FFF2-40B4-BE49-F238E27FC236}">
                <a16:creationId xmlns:a16="http://schemas.microsoft.com/office/drawing/2014/main" id="{C2A35DBD-97A4-4732-92D6-2676E5A68792}"/>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20BE6FB-D992-45E5-96F2-2C84FE3B158E}"/>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6" name="Gerader Verbinder 35">
            <a:extLst>
              <a:ext uri="{FF2B5EF4-FFF2-40B4-BE49-F238E27FC236}">
                <a16:creationId xmlns:a16="http://schemas.microsoft.com/office/drawing/2014/main" id="{1A31E35C-7422-4D6A-810C-301A3B1A7748}"/>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67D70898-B880-4AE6-83ED-D0CC40704BA4}"/>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40" name="Gerader Verbinder 39">
            <a:extLst>
              <a:ext uri="{FF2B5EF4-FFF2-40B4-BE49-F238E27FC236}">
                <a16:creationId xmlns:a16="http://schemas.microsoft.com/office/drawing/2014/main" id="{CEC74435-B45D-4FCA-87E9-E03A4856E8E5}"/>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EFB9EFE6-BB99-41BB-AC54-7E37682905E3}"/>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2" name="Gerader Verbinder 41">
            <a:extLst>
              <a:ext uri="{FF2B5EF4-FFF2-40B4-BE49-F238E27FC236}">
                <a16:creationId xmlns:a16="http://schemas.microsoft.com/office/drawing/2014/main" id="{454778B9-22DC-4B47-8AC3-207CED9EC9E1}"/>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09CC9732-7F67-4CB6-B6D9-BFC31B863AC6}"/>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4" name="Gerader Verbinder 43">
            <a:extLst>
              <a:ext uri="{FF2B5EF4-FFF2-40B4-BE49-F238E27FC236}">
                <a16:creationId xmlns:a16="http://schemas.microsoft.com/office/drawing/2014/main" id="{387359FB-EE38-4A0F-8C1B-3DFADCF54E7D}"/>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D97B0317-71FF-43A7-BF92-E2D9997B888B}"/>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8" name="Titel 1">
            <a:extLst>
              <a:ext uri="{FF2B5EF4-FFF2-40B4-BE49-F238E27FC236}">
                <a16:creationId xmlns:a16="http://schemas.microsoft.com/office/drawing/2014/main" id="{682FC982-4812-4EA5-96E2-E7F33A843099}"/>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
        <p:nvSpPr>
          <p:cNvPr id="46" name="Untertitel 2">
            <a:extLst>
              <a:ext uri="{FF2B5EF4-FFF2-40B4-BE49-F238E27FC236}">
                <a16:creationId xmlns:a16="http://schemas.microsoft.com/office/drawing/2014/main" id="{85291E6A-106F-4D43-8ED4-0F0C20B6AAFF}"/>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Tree>
    <p:extLst>
      <p:ext uri="{BB962C8B-B14F-4D97-AF65-F5344CB8AC3E}">
        <p14:creationId xmlns:p14="http://schemas.microsoft.com/office/powerpoint/2010/main" val="2818616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e Folie zur freien Gestaltun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939117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
        <p:nvSpPr>
          <p:cNvPr id="4" name="Untertitel 2">
            <a:extLst>
              <a:ext uri="{FF2B5EF4-FFF2-40B4-BE49-F238E27FC236}">
                <a16:creationId xmlns:a16="http://schemas.microsoft.com/office/drawing/2014/main" id="{81DB54E6-2720-D8D3-EADF-F9E59A132A54}"/>
              </a:ext>
            </a:extLst>
          </p:cNvPr>
          <p:cNvSpPr>
            <a:spLocks noGrp="1"/>
          </p:cNvSpPr>
          <p:nvPr>
            <p:ph type="subTitle" idx="1" hasCustomPrompt="1"/>
          </p:nvPr>
        </p:nvSpPr>
        <p:spPr>
          <a:xfrm>
            <a:off x="550862" y="5717565"/>
            <a:ext cx="5364000" cy="302400"/>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 Vortragender | optional</a:t>
            </a:r>
          </a:p>
        </p:txBody>
      </p:sp>
      <p:sp>
        <p:nvSpPr>
          <p:cNvPr id="5" name="TextBox 4">
            <a:extLst>
              <a:ext uri="{FF2B5EF4-FFF2-40B4-BE49-F238E27FC236}">
                <a16:creationId xmlns:a16="http://schemas.microsoft.com/office/drawing/2014/main" id="{E545F572-E392-4586-506B-B98529760280}"/>
              </a:ext>
            </a:extLst>
          </p:cNvPr>
          <p:cNvSpPr txBox="1"/>
          <p:nvPr userDrawn="1"/>
        </p:nvSpPr>
        <p:spPr>
          <a:xfrm>
            <a:off x="8001000" y="2484783"/>
            <a:ext cx="0" cy="0"/>
          </a:xfrm>
          <a:prstGeom prst="rect">
            <a:avLst/>
          </a:prstGeom>
          <a:noFill/>
        </p:spPr>
        <p:txBody>
          <a:bodyPr wrap="none" lIns="0" tIns="0" rIns="0" bIns="0" rtlCol="0">
            <a:noAutofit/>
          </a:bodyPr>
          <a:lstStyle/>
          <a:p>
            <a:pPr algn="l"/>
            <a:endParaRPr lang="en-DE" sz="1200" dirty="0" err="1"/>
          </a:p>
        </p:txBody>
      </p:sp>
      <p:sp>
        <p:nvSpPr>
          <p:cNvPr id="31" name="Bildplatzhalter 4">
            <a:extLst>
              <a:ext uri="{FF2B5EF4-FFF2-40B4-BE49-F238E27FC236}">
                <a16:creationId xmlns:a16="http://schemas.microsoft.com/office/drawing/2014/main" id="{A48DF3E8-1276-399B-9F74-3757B61F4956}"/>
              </a:ext>
            </a:extLst>
          </p:cNvPr>
          <p:cNvSpPr>
            <a:spLocks noGrp="1"/>
          </p:cNvSpPr>
          <p:nvPr>
            <p:ph type="pic" sz="quarter" idx="22" hasCustomPrompt="1"/>
          </p:nvPr>
        </p:nvSpPr>
        <p:spPr>
          <a:xfrm>
            <a:off x="6274636" y="1414800"/>
            <a:ext cx="5917364" cy="4413600"/>
          </a:xfrm>
          <a:solidFill>
            <a:schemeClr val="accent6"/>
          </a:solidFill>
        </p:spPr>
        <p:txBody>
          <a:bodyPr/>
          <a:lstStyle>
            <a:lvl1pPr marL="0" indent="0">
              <a:buNone/>
              <a:defRPr/>
            </a:lvl1pPr>
          </a:lstStyle>
          <a:p>
            <a:r>
              <a:rPr lang="de-DE" dirty="0"/>
              <a:t> </a:t>
            </a:r>
          </a:p>
        </p:txBody>
      </p:sp>
      <p:sp>
        <p:nvSpPr>
          <p:cNvPr id="6" name="Titel 1">
            <a:extLst>
              <a:ext uri="{FF2B5EF4-FFF2-40B4-BE49-F238E27FC236}">
                <a16:creationId xmlns:a16="http://schemas.microsoft.com/office/drawing/2014/main" id="{7E9FC6FD-4E8F-79CE-1BC3-254B02A439A1}"/>
              </a:ext>
            </a:extLst>
          </p:cNvPr>
          <p:cNvSpPr>
            <a:spLocks noGrp="1"/>
          </p:cNvSpPr>
          <p:nvPr>
            <p:ph type="title" hasCustomPrompt="1"/>
          </p:nvPr>
        </p:nvSpPr>
        <p:spPr>
          <a:xfrm>
            <a:off x="550862" y="4409939"/>
            <a:ext cx="5364000" cy="1267200"/>
          </a:xfrm>
        </p:spPr>
        <p:txBody>
          <a:bodyPr bIns="72000" anchor="b">
            <a:noAutofit/>
          </a:bodyPr>
          <a:lstStyle>
            <a:lvl1pPr>
              <a:defRPr sz="3600" b="0">
                <a:latin typeface="+mn-lt"/>
              </a:defRPr>
            </a:lvl1pPr>
          </a:lstStyle>
          <a:p>
            <a:r>
              <a:rPr lang="de-DE" dirty="0"/>
              <a:t>Titelfolie, 36 </a:t>
            </a:r>
            <a:r>
              <a:rPr lang="de-DE" dirty="0" err="1"/>
              <a:t>pt</a:t>
            </a:r>
            <a:r>
              <a:rPr lang="de-DE" dirty="0"/>
              <a:t>,</a:t>
            </a:r>
            <a:br>
              <a:rPr lang="de-DE" dirty="0"/>
            </a:br>
            <a:r>
              <a:rPr lang="de-DE" dirty="0"/>
              <a:t>zweizeilig möglich</a:t>
            </a:r>
          </a:p>
        </p:txBody>
      </p:sp>
    </p:spTree>
    <p:extLst>
      <p:ext uri="{BB962C8B-B14F-4D97-AF65-F5344CB8AC3E}">
        <p14:creationId xmlns:p14="http://schemas.microsoft.com/office/powerpoint/2010/main" val="394303925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ere Folie zur freien Gestaltung_blau">
    <p:bg>
      <p:bgRef idx="1001">
        <a:schemeClr val="bg2"/>
      </p:bgRef>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98646AE-4227-47A1-9F07-2D4E74D5C6CB}"/>
              </a:ext>
            </a:extLst>
          </p:cNvPr>
          <p:cNvSpPr>
            <a:spLocks noGrp="1"/>
          </p:cNvSpPr>
          <p:nvPr>
            <p:ph type="sldNum" sz="quarter" idx="10"/>
          </p:nvPr>
        </p:nvSpPr>
        <p:spPr/>
        <p:txBody>
          <a:bodyPr/>
          <a:lstStyle>
            <a:lvl1pPr>
              <a:defRPr>
                <a:solidFill>
                  <a:schemeClr val="tx1"/>
                </a:solidFill>
              </a:defRPr>
            </a:lvl1pPr>
          </a:lstStyle>
          <a:p>
            <a:fld id="{A4F0F259-A46A-4ED8-ADC1-905ED7FEFB94}" type="slidenum">
              <a:rPr lang="de-DE" smtClean="0"/>
              <a:pPr/>
              <a:t>‹#›</a:t>
            </a:fld>
            <a:endParaRPr lang="de-DE" dirty="0"/>
          </a:p>
        </p:txBody>
      </p:sp>
      <p:sp>
        <p:nvSpPr>
          <p:cNvPr id="6" name="Textplatzhalter 3">
            <a:extLst>
              <a:ext uri="{FF2B5EF4-FFF2-40B4-BE49-F238E27FC236}">
                <a16:creationId xmlns:a16="http://schemas.microsoft.com/office/drawing/2014/main" id="{3006ADF7-280D-4EAD-9ED0-B65FC39B9A40}"/>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solidFill>
                  <a:schemeClr val="tx1"/>
                </a:solidFill>
              </a:defRPr>
            </a:lvl1pPr>
          </a:lstStyle>
          <a:p>
            <a:pPr lvl="0"/>
            <a:r>
              <a:rPr lang="de-DE" dirty="0"/>
              <a:t>Untertitel, optional</a:t>
            </a:r>
          </a:p>
        </p:txBody>
      </p:sp>
      <p:sp>
        <p:nvSpPr>
          <p:cNvPr id="8" name="Titel 7">
            <a:extLst>
              <a:ext uri="{FF2B5EF4-FFF2-40B4-BE49-F238E27FC236}">
                <a16:creationId xmlns:a16="http://schemas.microsoft.com/office/drawing/2014/main" id="{EFAA7117-B871-475F-A19B-4FEFEFA44BFA}"/>
              </a:ext>
            </a:extLst>
          </p:cNvPr>
          <p:cNvSpPr>
            <a:spLocks noGrp="1"/>
          </p:cNvSpPr>
          <p:nvPr>
            <p:ph type="title" hasCustomPrompt="1"/>
          </p:nvPr>
        </p:nvSpPr>
        <p:spPr/>
        <p:txBody>
          <a:bodyPr/>
          <a:lstStyle>
            <a:lvl1pPr>
              <a:defRPr sz="2400">
                <a:solidFill>
                  <a:schemeClr val="tx1"/>
                </a:solidFill>
              </a:defRPr>
            </a:lvl1pPr>
          </a:lstStyle>
          <a:p>
            <a:r>
              <a:rPr lang="de-DE" dirty="0"/>
              <a:t>Leere Folie zur freien Gestaltung</a:t>
            </a:r>
          </a:p>
        </p:txBody>
      </p:sp>
      <p:sp>
        <p:nvSpPr>
          <p:cNvPr id="9" name="Textplatzhalter 3">
            <a:extLst>
              <a:ext uri="{FF2B5EF4-FFF2-40B4-BE49-F238E27FC236}">
                <a16:creationId xmlns:a16="http://schemas.microsoft.com/office/drawing/2014/main" id="{792ED9F9-22F8-4F4E-BC98-E56E1CAD3C3E}"/>
              </a:ext>
            </a:extLst>
          </p:cNvPr>
          <p:cNvSpPr>
            <a:spLocks noGrp="1"/>
          </p:cNvSpPr>
          <p:nvPr>
            <p:ph type="body" sz="quarter" idx="21" hasCustomPrompt="1"/>
          </p:nvPr>
        </p:nvSpPr>
        <p:spPr>
          <a:xfrm>
            <a:off x="550800" y="1339437"/>
            <a:ext cx="11088000" cy="4754428"/>
          </a:xfrm>
        </p:spPr>
        <p:txBody>
          <a:bodyPr anchor="t"/>
          <a:lstStyle>
            <a:lvl1pPr marL="0" indent="0">
              <a:buFont typeface="Arial" panose="020B0604020202020204" pitchFamily="34" charset="0"/>
              <a:buNone/>
              <a:defRPr sz="1200" b="0"/>
            </a:lvl1pPr>
          </a:lstStyle>
          <a:p>
            <a:pPr lvl="0"/>
            <a:r>
              <a:rPr lang="de-DE" dirty="0"/>
              <a:t>Quellenangabe: optional</a:t>
            </a:r>
          </a:p>
        </p:txBody>
      </p:sp>
      <p:cxnSp>
        <p:nvCxnSpPr>
          <p:cNvPr id="17" name="Gerader Verbinder 16">
            <a:extLst>
              <a:ext uri="{FF2B5EF4-FFF2-40B4-BE49-F238E27FC236}">
                <a16:creationId xmlns:a16="http://schemas.microsoft.com/office/drawing/2014/main" id="{98AE3255-2209-46FC-BEE8-DFE0D64CD7FF}"/>
              </a:ext>
            </a:extLst>
          </p:cNvPr>
          <p:cNvCxnSpPr>
            <a:cxnSpLocks/>
          </p:cNvCxnSpPr>
          <p:nvPr userDrawn="1"/>
        </p:nvCxnSpPr>
        <p:spPr>
          <a:xfrm flipV="1">
            <a:off x="550863"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3986493A-590F-4AA1-8AC5-D26DE0FE90F0}"/>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19" name="Gerader Verbinder 18">
            <a:extLst>
              <a:ext uri="{FF2B5EF4-FFF2-40B4-BE49-F238E27FC236}">
                <a16:creationId xmlns:a16="http://schemas.microsoft.com/office/drawing/2014/main" id="{4B8D0FA9-463D-4101-9B7B-A9A2A43F043F}"/>
              </a:ext>
            </a:extLst>
          </p:cNvPr>
          <p:cNvCxnSpPr>
            <a:cxnSpLocks/>
          </p:cNvCxnSpPr>
          <p:nvPr userDrawn="1"/>
        </p:nvCxnSpPr>
        <p:spPr>
          <a:xfrm>
            <a:off x="-292894" y="4738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50126EEA-C1DE-4BD9-B7DE-793852946E96}"/>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solidFill>
                  <a:schemeClr val="bg1"/>
                </a:solidFill>
              </a:rPr>
              <a:t>8,20</a:t>
            </a:r>
          </a:p>
        </p:txBody>
      </p:sp>
      <p:cxnSp>
        <p:nvCxnSpPr>
          <p:cNvPr id="21" name="Gerader Verbinder 20">
            <a:extLst>
              <a:ext uri="{FF2B5EF4-FFF2-40B4-BE49-F238E27FC236}">
                <a16:creationId xmlns:a16="http://schemas.microsoft.com/office/drawing/2014/main" id="{5FBAB978-097F-40B9-8AFC-5B3E89A6D134}"/>
              </a:ext>
            </a:extLst>
          </p:cNvPr>
          <p:cNvCxnSpPr>
            <a:cxnSpLocks/>
          </p:cNvCxnSpPr>
          <p:nvPr userDrawn="1"/>
        </p:nvCxnSpPr>
        <p:spPr>
          <a:xfrm>
            <a:off x="-292894" y="800100"/>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51A5E8BF-1B4E-470E-AD49-1A740AFD5149}"/>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solidFill>
                  <a:schemeClr val="bg1"/>
                </a:solidFill>
              </a:rPr>
              <a:t>7,30</a:t>
            </a:r>
          </a:p>
        </p:txBody>
      </p:sp>
      <p:cxnSp>
        <p:nvCxnSpPr>
          <p:cNvPr id="23" name="Gerader Verbinder 22">
            <a:extLst>
              <a:ext uri="{FF2B5EF4-FFF2-40B4-BE49-F238E27FC236}">
                <a16:creationId xmlns:a16="http://schemas.microsoft.com/office/drawing/2014/main" id="{6BF2E4FA-64CD-4CA7-BD28-1DCE5DB13F4D}"/>
              </a:ext>
            </a:extLst>
          </p:cNvPr>
          <p:cNvCxnSpPr>
            <a:cxnSpLocks/>
          </p:cNvCxnSpPr>
          <p:nvPr userDrawn="1"/>
        </p:nvCxnSpPr>
        <p:spPr>
          <a:xfrm flipV="1">
            <a:off x="11640345" y="-209550"/>
            <a:ext cx="0" cy="1476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F9983F0A-D93E-41C9-AC3B-02885759E899}"/>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solidFill>
                  <a:schemeClr val="bg1"/>
                </a:solidFill>
              </a:rPr>
              <a:t>15,40</a:t>
            </a:r>
          </a:p>
        </p:txBody>
      </p:sp>
      <p:cxnSp>
        <p:nvCxnSpPr>
          <p:cNvPr id="25" name="Gerader Verbinder 24">
            <a:extLst>
              <a:ext uri="{FF2B5EF4-FFF2-40B4-BE49-F238E27FC236}">
                <a16:creationId xmlns:a16="http://schemas.microsoft.com/office/drawing/2014/main" id="{96C1DCE3-099D-430D-8D41-636F3E78BAD2}"/>
              </a:ext>
            </a:extLst>
          </p:cNvPr>
          <p:cNvCxnSpPr>
            <a:cxnSpLocks/>
          </p:cNvCxnSpPr>
          <p:nvPr userDrawn="1"/>
        </p:nvCxnSpPr>
        <p:spPr>
          <a:xfrm>
            <a:off x="-292894" y="1412556"/>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683F3BE1-5CBF-4BFD-901C-9D21285A781F}"/>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solidFill>
                  <a:schemeClr val="bg1"/>
                </a:solidFill>
              </a:rPr>
              <a:t>5,60</a:t>
            </a:r>
          </a:p>
        </p:txBody>
      </p:sp>
      <p:cxnSp>
        <p:nvCxnSpPr>
          <p:cNvPr id="27" name="Gerader Verbinder 26">
            <a:extLst>
              <a:ext uri="{FF2B5EF4-FFF2-40B4-BE49-F238E27FC236}">
                <a16:creationId xmlns:a16="http://schemas.microsoft.com/office/drawing/2014/main" id="{7F1E2AE6-5FF7-4BCD-86A5-088C73198236}"/>
              </a:ext>
            </a:extLst>
          </p:cNvPr>
          <p:cNvCxnSpPr>
            <a:cxnSpLocks/>
          </p:cNvCxnSpPr>
          <p:nvPr userDrawn="1"/>
        </p:nvCxnSpPr>
        <p:spPr>
          <a:xfrm>
            <a:off x="-292894" y="6094768"/>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0BA16828-7492-4A31-8E8D-4383AEDC9DC5}"/>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solidFill>
                  <a:schemeClr val="bg1"/>
                </a:solidFill>
              </a:rPr>
              <a:t>7,40</a:t>
            </a:r>
          </a:p>
        </p:txBody>
      </p:sp>
      <p:cxnSp>
        <p:nvCxnSpPr>
          <p:cNvPr id="29" name="Gerader Verbinder 28">
            <a:extLst>
              <a:ext uri="{FF2B5EF4-FFF2-40B4-BE49-F238E27FC236}">
                <a16:creationId xmlns:a16="http://schemas.microsoft.com/office/drawing/2014/main" id="{74D52DA9-3488-41FF-88DF-D31A563E13ED}"/>
              </a:ext>
            </a:extLst>
          </p:cNvPr>
          <p:cNvCxnSpPr>
            <a:cxnSpLocks/>
          </p:cNvCxnSpPr>
          <p:nvPr userDrawn="1"/>
        </p:nvCxnSpPr>
        <p:spPr>
          <a:xfrm>
            <a:off x="-292894" y="6345379"/>
            <a:ext cx="212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C8779042-3C13-4428-8802-13A1EA86E2A7}"/>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solidFill>
                  <a:schemeClr val="bg1"/>
                </a:solidFill>
              </a:rPr>
              <a:t>8,10</a:t>
            </a:r>
          </a:p>
        </p:txBody>
      </p:sp>
    </p:spTree>
    <p:extLst>
      <p:ext uri="{BB962C8B-B14F-4D97-AF65-F5344CB8AC3E}">
        <p14:creationId xmlns:p14="http://schemas.microsoft.com/office/powerpoint/2010/main" val="266134231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F609D-1315-4F88-97E0-1A58FC0B3B3B}"/>
              </a:ext>
            </a:extLst>
          </p:cNvPr>
          <p:cNvSpPr>
            <a:spLocks noGrp="1"/>
          </p:cNvSpPr>
          <p:nvPr>
            <p:ph type="title" hasCustomPrompt="1"/>
          </p:nvPr>
        </p:nvSpPr>
        <p:spPr>
          <a:xfrm>
            <a:off x="550861" y="3994217"/>
            <a:ext cx="6831011" cy="1368421"/>
          </a:xfrm>
        </p:spPr>
        <p:txBody>
          <a:bodyPr bIns="72000" anchor="t">
            <a:noAutofit/>
          </a:bodyPr>
          <a:lstStyle>
            <a:lvl1pPr>
              <a:defRPr sz="3600" b="0">
                <a:latin typeface="+mn-lt"/>
              </a:defRPr>
            </a:lvl1pPr>
          </a:lstStyle>
          <a:p>
            <a:r>
              <a:rPr lang="de-DE" dirty="0"/>
              <a:t>Vielen Dank für Ihre</a:t>
            </a:r>
            <a:br>
              <a:rPr lang="de-DE" dirty="0"/>
            </a:br>
            <a:r>
              <a:rPr lang="de-DE" dirty="0"/>
              <a:t>Aufmerksamkeit!</a:t>
            </a:r>
          </a:p>
        </p:txBody>
      </p:sp>
      <p:sp>
        <p:nvSpPr>
          <p:cNvPr id="68" name="Bildplatzhalter 67">
            <a:extLst>
              <a:ext uri="{FF2B5EF4-FFF2-40B4-BE49-F238E27FC236}">
                <a16:creationId xmlns:a16="http://schemas.microsoft.com/office/drawing/2014/main" id="{C3744A4F-7E89-4E26-B1EA-9B546D4E514B}"/>
              </a:ext>
            </a:extLst>
          </p:cNvPr>
          <p:cNvSpPr>
            <a:spLocks noGrp="1"/>
          </p:cNvSpPr>
          <p:nvPr>
            <p:ph type="pic" sz="quarter" idx="12" hasCustomPrompt="1"/>
          </p:nvPr>
        </p:nvSpPr>
        <p:spPr>
          <a:xfrm>
            <a:off x="5352001" y="3"/>
            <a:ext cx="6840001" cy="6857999"/>
          </a:xfrm>
          <a:custGeom>
            <a:avLst/>
            <a:gdLst>
              <a:gd name="connsiteX0" fmla="*/ 4579115 w 6840001"/>
              <a:gd name="connsiteY0" fmla="*/ 4589998 h 6857999"/>
              <a:gd name="connsiteX1" fmla="*/ 6840001 w 6840001"/>
              <a:gd name="connsiteY1" fmla="*/ 4589998 h 6857999"/>
              <a:gd name="connsiteX2" fmla="*/ 6840001 w 6840001"/>
              <a:gd name="connsiteY2" fmla="*/ 6857999 h 6857999"/>
              <a:gd name="connsiteX3" fmla="*/ 4579115 w 6840001"/>
              <a:gd name="connsiteY3" fmla="*/ 6857999 h 6857999"/>
              <a:gd name="connsiteX4" fmla="*/ 4572000 w 6840001"/>
              <a:gd name="connsiteY4" fmla="*/ 2303997 h 6857999"/>
              <a:gd name="connsiteX5" fmla="*/ 6840001 w 6840001"/>
              <a:gd name="connsiteY5" fmla="*/ 2303997 h 6857999"/>
              <a:gd name="connsiteX6" fmla="*/ 6840001 w 6840001"/>
              <a:gd name="connsiteY6" fmla="*/ 4553998 h 6857999"/>
              <a:gd name="connsiteX7" fmla="*/ 4572000 w 6840001"/>
              <a:gd name="connsiteY7" fmla="*/ 4553998 h 6857999"/>
              <a:gd name="connsiteX8" fmla="*/ 2286000 w 6840001"/>
              <a:gd name="connsiteY8" fmla="*/ 2303997 h 6857999"/>
              <a:gd name="connsiteX9" fmla="*/ 4536000 w 6840001"/>
              <a:gd name="connsiteY9" fmla="*/ 2303997 h 6857999"/>
              <a:gd name="connsiteX10" fmla="*/ 4536000 w 6840001"/>
              <a:gd name="connsiteY10" fmla="*/ 4553998 h 6857999"/>
              <a:gd name="connsiteX11" fmla="*/ 2286000 w 6840001"/>
              <a:gd name="connsiteY11" fmla="*/ 4553998 h 6857999"/>
              <a:gd name="connsiteX12" fmla="*/ 4572000 w 6840001"/>
              <a:gd name="connsiteY12" fmla="*/ 0 h 6857999"/>
              <a:gd name="connsiteX13" fmla="*/ 6840001 w 6840001"/>
              <a:gd name="connsiteY13" fmla="*/ 0 h 6857999"/>
              <a:gd name="connsiteX14" fmla="*/ 6840001 w 6840001"/>
              <a:gd name="connsiteY14" fmla="*/ 2267997 h 6857999"/>
              <a:gd name="connsiteX15" fmla="*/ 4572000 w 6840001"/>
              <a:gd name="connsiteY15" fmla="*/ 2267997 h 6857999"/>
              <a:gd name="connsiteX16" fmla="*/ 0 w 6840001"/>
              <a:gd name="connsiteY16" fmla="*/ 0 h 6857999"/>
              <a:gd name="connsiteX17" fmla="*/ 2249999 w 6840001"/>
              <a:gd name="connsiteY17" fmla="*/ 0 h 6857999"/>
              <a:gd name="connsiteX18" fmla="*/ 2249999 w 6840001"/>
              <a:gd name="connsiteY18" fmla="*/ 2267997 h 6857999"/>
              <a:gd name="connsiteX19" fmla="*/ 0 w 6840001"/>
              <a:gd name="connsiteY19" fmla="*/ 226799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40001" h="6857999">
                <a:moveTo>
                  <a:pt x="4579115" y="4589998"/>
                </a:moveTo>
                <a:lnTo>
                  <a:pt x="6840001" y="4589998"/>
                </a:lnTo>
                <a:lnTo>
                  <a:pt x="6840001" y="6857999"/>
                </a:lnTo>
                <a:lnTo>
                  <a:pt x="4579115" y="6857999"/>
                </a:lnTo>
                <a:close/>
                <a:moveTo>
                  <a:pt x="4572000" y="2303997"/>
                </a:moveTo>
                <a:lnTo>
                  <a:pt x="6840001" y="2303997"/>
                </a:lnTo>
                <a:lnTo>
                  <a:pt x="6840001" y="4553998"/>
                </a:lnTo>
                <a:lnTo>
                  <a:pt x="4572000" y="4553998"/>
                </a:lnTo>
                <a:close/>
                <a:moveTo>
                  <a:pt x="2286000" y="2303997"/>
                </a:moveTo>
                <a:lnTo>
                  <a:pt x="4536000" y="2303997"/>
                </a:lnTo>
                <a:lnTo>
                  <a:pt x="4536000" y="4553998"/>
                </a:lnTo>
                <a:lnTo>
                  <a:pt x="2286000" y="4553998"/>
                </a:lnTo>
                <a:close/>
                <a:moveTo>
                  <a:pt x="4572000" y="0"/>
                </a:moveTo>
                <a:lnTo>
                  <a:pt x="6840001" y="0"/>
                </a:lnTo>
                <a:lnTo>
                  <a:pt x="6840001" y="2267997"/>
                </a:lnTo>
                <a:lnTo>
                  <a:pt x="4572000" y="2267997"/>
                </a:lnTo>
                <a:close/>
                <a:moveTo>
                  <a:pt x="0" y="0"/>
                </a:moveTo>
                <a:lnTo>
                  <a:pt x="2249999" y="0"/>
                </a:lnTo>
                <a:lnTo>
                  <a:pt x="2249999" y="2267997"/>
                </a:lnTo>
                <a:lnTo>
                  <a:pt x="0" y="2267997"/>
                </a:lnTo>
                <a:close/>
              </a:path>
            </a:pathLst>
          </a:custGeom>
          <a:solidFill>
            <a:schemeClr val="accent6"/>
          </a:solidFill>
        </p:spPr>
        <p:txBody>
          <a:bodyPr wrap="square">
            <a:noAutofit/>
          </a:bodyPr>
          <a:lstStyle>
            <a:lvl1pPr marL="0" indent="0">
              <a:buNone/>
              <a:defRPr/>
            </a:lvl1pPr>
          </a:lstStyle>
          <a:p>
            <a:r>
              <a:rPr lang="de-DE" dirty="0"/>
              <a:t> </a:t>
            </a:r>
          </a:p>
        </p:txBody>
      </p:sp>
      <p:cxnSp>
        <p:nvCxnSpPr>
          <p:cNvPr id="19" name="Gerader Verbinder 18">
            <a:extLst>
              <a:ext uri="{FF2B5EF4-FFF2-40B4-BE49-F238E27FC236}">
                <a16:creationId xmlns:a16="http://schemas.microsoft.com/office/drawing/2014/main" id="{D7AB7DCE-F024-4134-A4E7-C2CA0D0FDD99}"/>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B1F09D9F-AA07-4466-885B-C0E7B551A44F}"/>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21" name="Gerader Verbinder 20">
            <a:extLst>
              <a:ext uri="{FF2B5EF4-FFF2-40B4-BE49-F238E27FC236}">
                <a16:creationId xmlns:a16="http://schemas.microsoft.com/office/drawing/2014/main" id="{4D43C9F0-4FAC-4C0E-A72F-9C78D1A7621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38A0D319-B287-4A74-829B-BACDBA6F564F}"/>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4" name="Gerader Verbinder 23">
            <a:extLst>
              <a:ext uri="{FF2B5EF4-FFF2-40B4-BE49-F238E27FC236}">
                <a16:creationId xmlns:a16="http://schemas.microsoft.com/office/drawing/2014/main" id="{17E09EEF-7DD8-43A3-B47D-AA42524075D8}"/>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670AEAA7-CB87-425A-BF5B-C230322CB663}"/>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34" name="Gerader Verbinder 33">
            <a:extLst>
              <a:ext uri="{FF2B5EF4-FFF2-40B4-BE49-F238E27FC236}">
                <a16:creationId xmlns:a16="http://schemas.microsoft.com/office/drawing/2014/main" id="{FC6D2781-9937-4F53-B699-C69B945D96BF}"/>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A6AAD560-6E56-4B55-9220-98C08F59483A}"/>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cxnSp>
        <p:nvCxnSpPr>
          <p:cNvPr id="36" name="Gerader Verbinder 35">
            <a:extLst>
              <a:ext uri="{FF2B5EF4-FFF2-40B4-BE49-F238E27FC236}">
                <a16:creationId xmlns:a16="http://schemas.microsoft.com/office/drawing/2014/main" id="{BADB4146-9189-4442-ADBD-ED90462FD13C}"/>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1A61ECA8-F4E3-4C68-B5C4-ADB00F5EC82C}"/>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40" name="Gerader Verbinder 39">
            <a:extLst>
              <a:ext uri="{FF2B5EF4-FFF2-40B4-BE49-F238E27FC236}">
                <a16:creationId xmlns:a16="http://schemas.microsoft.com/office/drawing/2014/main" id="{2684DBCB-1520-4ACF-821B-DFE58DF0A312}"/>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2AEE3D68-5553-4EBA-9A1B-6780000678D9}"/>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42" name="Gerader Verbinder 41">
            <a:extLst>
              <a:ext uri="{FF2B5EF4-FFF2-40B4-BE49-F238E27FC236}">
                <a16:creationId xmlns:a16="http://schemas.microsoft.com/office/drawing/2014/main" id="{AEA6BC66-8F2A-4C1F-881C-1A1EF8FF442B}"/>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CDEBB5A0-4A84-46E0-80F6-47ED855449AA}"/>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Tree>
    <p:extLst>
      <p:ext uri="{BB962C8B-B14F-4D97-AF65-F5344CB8AC3E}">
        <p14:creationId xmlns:p14="http://schemas.microsoft.com/office/powerpoint/2010/main" val="2357028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8" name="Textplatzhalter 3">
            <a:extLst>
              <a:ext uri="{FF2B5EF4-FFF2-40B4-BE49-F238E27FC236}">
                <a16:creationId xmlns:a16="http://schemas.microsoft.com/office/drawing/2014/main" id="{F968CA92-F438-422B-A7F0-2306FC17DF9D}"/>
              </a:ext>
            </a:extLst>
          </p:cNvPr>
          <p:cNvSpPr>
            <a:spLocks noGrp="1"/>
          </p:cNvSpPr>
          <p:nvPr>
            <p:ph type="body" sz="quarter" idx="18" hasCustomPrompt="1"/>
          </p:nvPr>
        </p:nvSpPr>
        <p:spPr>
          <a:xfrm>
            <a:off x="5508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9" name="Textplatzhalter 3">
            <a:extLst>
              <a:ext uri="{FF2B5EF4-FFF2-40B4-BE49-F238E27FC236}">
                <a16:creationId xmlns:a16="http://schemas.microsoft.com/office/drawing/2014/main" id="{2C83F6BF-B298-4CB6-B876-3603941D70CF}"/>
              </a:ext>
            </a:extLst>
          </p:cNvPr>
          <p:cNvSpPr>
            <a:spLocks noGrp="1"/>
          </p:cNvSpPr>
          <p:nvPr>
            <p:ph type="body" sz="quarter" idx="19" hasCustomPrompt="1"/>
          </p:nvPr>
        </p:nvSpPr>
        <p:spPr>
          <a:xfrm>
            <a:off x="5508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a:t>
            </a:r>
          </a:p>
        </p:txBody>
      </p:sp>
      <p:sp>
        <p:nvSpPr>
          <p:cNvPr id="70" name="Textplatzhalter 3">
            <a:extLst>
              <a:ext uri="{FF2B5EF4-FFF2-40B4-BE49-F238E27FC236}">
                <a16:creationId xmlns:a16="http://schemas.microsoft.com/office/drawing/2014/main" id="{38C9353C-8C80-46EA-A939-527E7FCB8354}"/>
              </a:ext>
            </a:extLst>
          </p:cNvPr>
          <p:cNvSpPr>
            <a:spLocks noGrp="1"/>
          </p:cNvSpPr>
          <p:nvPr>
            <p:ph type="body" sz="quarter" idx="20" hasCustomPrompt="1"/>
          </p:nvPr>
        </p:nvSpPr>
        <p:spPr>
          <a:xfrm>
            <a:off x="547721"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5" name="Textplatzhalter 3">
            <a:extLst>
              <a:ext uri="{FF2B5EF4-FFF2-40B4-BE49-F238E27FC236}">
                <a16:creationId xmlns:a16="http://schemas.microsoft.com/office/drawing/2014/main" id="{A5C59F96-456B-41F4-881E-0A7757EE05C2}"/>
              </a:ext>
            </a:extLst>
          </p:cNvPr>
          <p:cNvSpPr>
            <a:spLocks noGrp="1"/>
          </p:cNvSpPr>
          <p:nvPr>
            <p:ph type="body" sz="quarter" idx="54" hasCustomPrompt="1"/>
          </p:nvPr>
        </p:nvSpPr>
        <p:spPr>
          <a:xfrm>
            <a:off x="5508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6" name="Textplatzhalter 3">
            <a:extLst>
              <a:ext uri="{FF2B5EF4-FFF2-40B4-BE49-F238E27FC236}">
                <a16:creationId xmlns:a16="http://schemas.microsoft.com/office/drawing/2014/main" id="{07FED7D3-B7E2-489E-B602-A5CA1E348D4D}"/>
              </a:ext>
            </a:extLst>
          </p:cNvPr>
          <p:cNvSpPr>
            <a:spLocks noGrp="1"/>
          </p:cNvSpPr>
          <p:nvPr>
            <p:ph type="body" sz="quarter" idx="55" hasCustomPrompt="1"/>
          </p:nvPr>
        </p:nvSpPr>
        <p:spPr>
          <a:xfrm>
            <a:off x="5508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4</a:t>
            </a:r>
          </a:p>
        </p:txBody>
      </p:sp>
      <p:sp>
        <p:nvSpPr>
          <p:cNvPr id="47" name="Textplatzhalter 3">
            <a:extLst>
              <a:ext uri="{FF2B5EF4-FFF2-40B4-BE49-F238E27FC236}">
                <a16:creationId xmlns:a16="http://schemas.microsoft.com/office/drawing/2014/main" id="{BB5124BC-BE62-4D29-91EA-F2325D7BA265}"/>
              </a:ext>
            </a:extLst>
          </p:cNvPr>
          <p:cNvSpPr>
            <a:spLocks noGrp="1"/>
          </p:cNvSpPr>
          <p:nvPr>
            <p:ph type="body" sz="quarter" idx="56" hasCustomPrompt="1"/>
          </p:nvPr>
        </p:nvSpPr>
        <p:spPr>
          <a:xfrm>
            <a:off x="547721"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8" name="Textplatzhalter 3">
            <a:extLst>
              <a:ext uri="{FF2B5EF4-FFF2-40B4-BE49-F238E27FC236}">
                <a16:creationId xmlns:a16="http://schemas.microsoft.com/office/drawing/2014/main" id="{3794E261-5EA3-481D-8179-EDBA139F1CF9}"/>
              </a:ext>
            </a:extLst>
          </p:cNvPr>
          <p:cNvSpPr>
            <a:spLocks noGrp="1"/>
          </p:cNvSpPr>
          <p:nvPr>
            <p:ph type="body" sz="quarter" idx="57" hasCustomPrompt="1"/>
          </p:nvPr>
        </p:nvSpPr>
        <p:spPr>
          <a:xfrm>
            <a:off x="3973160"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49" name="Textplatzhalter 3">
            <a:extLst>
              <a:ext uri="{FF2B5EF4-FFF2-40B4-BE49-F238E27FC236}">
                <a16:creationId xmlns:a16="http://schemas.microsoft.com/office/drawing/2014/main" id="{253DA4C1-B43A-4915-83D0-14943A4C0922}"/>
              </a:ext>
            </a:extLst>
          </p:cNvPr>
          <p:cNvSpPr>
            <a:spLocks noGrp="1"/>
          </p:cNvSpPr>
          <p:nvPr>
            <p:ph type="body" sz="quarter" idx="58" hasCustomPrompt="1"/>
          </p:nvPr>
        </p:nvSpPr>
        <p:spPr>
          <a:xfrm>
            <a:off x="3973160"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8</a:t>
            </a:r>
          </a:p>
        </p:txBody>
      </p:sp>
      <p:sp>
        <p:nvSpPr>
          <p:cNvPr id="50" name="Textplatzhalter 3">
            <a:extLst>
              <a:ext uri="{FF2B5EF4-FFF2-40B4-BE49-F238E27FC236}">
                <a16:creationId xmlns:a16="http://schemas.microsoft.com/office/drawing/2014/main" id="{1A3EB076-6FE6-4C7B-9020-649E2F3C2533}"/>
              </a:ext>
            </a:extLst>
          </p:cNvPr>
          <p:cNvSpPr>
            <a:spLocks noGrp="1"/>
          </p:cNvSpPr>
          <p:nvPr>
            <p:ph type="body" sz="quarter" idx="59" hasCustomPrompt="1"/>
          </p:nvPr>
        </p:nvSpPr>
        <p:spPr>
          <a:xfrm>
            <a:off x="3973160"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1" name="Textplatzhalter 3">
            <a:extLst>
              <a:ext uri="{FF2B5EF4-FFF2-40B4-BE49-F238E27FC236}">
                <a16:creationId xmlns:a16="http://schemas.microsoft.com/office/drawing/2014/main" id="{A86BE064-E81B-4122-98B3-7D740307D50B}"/>
              </a:ext>
            </a:extLst>
          </p:cNvPr>
          <p:cNvSpPr>
            <a:spLocks noGrp="1"/>
          </p:cNvSpPr>
          <p:nvPr>
            <p:ph type="body" sz="quarter" idx="60" hasCustomPrompt="1"/>
          </p:nvPr>
        </p:nvSpPr>
        <p:spPr>
          <a:xfrm>
            <a:off x="7395456" y="4897755"/>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2" name="Textplatzhalter 3">
            <a:extLst>
              <a:ext uri="{FF2B5EF4-FFF2-40B4-BE49-F238E27FC236}">
                <a16:creationId xmlns:a16="http://schemas.microsoft.com/office/drawing/2014/main" id="{F40749C7-39EB-48F1-8BCF-C7A6463E06FB}"/>
              </a:ext>
            </a:extLst>
          </p:cNvPr>
          <p:cNvSpPr>
            <a:spLocks noGrp="1"/>
          </p:cNvSpPr>
          <p:nvPr>
            <p:ph type="body" sz="quarter" idx="61" hasCustomPrompt="1"/>
          </p:nvPr>
        </p:nvSpPr>
        <p:spPr>
          <a:xfrm>
            <a:off x="7395456" y="5220177"/>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2</a:t>
            </a:r>
          </a:p>
        </p:txBody>
      </p:sp>
      <p:sp>
        <p:nvSpPr>
          <p:cNvPr id="53" name="Textplatzhalter 3">
            <a:extLst>
              <a:ext uri="{FF2B5EF4-FFF2-40B4-BE49-F238E27FC236}">
                <a16:creationId xmlns:a16="http://schemas.microsoft.com/office/drawing/2014/main" id="{B8671B6F-36F5-437C-B7DE-FE1569378BB5}"/>
              </a:ext>
            </a:extLst>
          </p:cNvPr>
          <p:cNvSpPr>
            <a:spLocks noGrp="1"/>
          </p:cNvSpPr>
          <p:nvPr>
            <p:ph type="body" sz="quarter" idx="62" hasCustomPrompt="1"/>
          </p:nvPr>
        </p:nvSpPr>
        <p:spPr>
          <a:xfrm>
            <a:off x="7395456" y="5588414"/>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4" name="Textplatzhalter 3">
            <a:extLst>
              <a:ext uri="{FF2B5EF4-FFF2-40B4-BE49-F238E27FC236}">
                <a16:creationId xmlns:a16="http://schemas.microsoft.com/office/drawing/2014/main" id="{A6916979-97D0-4ACF-97AE-FD60BCA3C172}"/>
              </a:ext>
            </a:extLst>
          </p:cNvPr>
          <p:cNvSpPr>
            <a:spLocks noGrp="1"/>
          </p:cNvSpPr>
          <p:nvPr>
            <p:ph type="body" sz="quarter" idx="63" hasCustomPrompt="1"/>
          </p:nvPr>
        </p:nvSpPr>
        <p:spPr>
          <a:xfrm>
            <a:off x="3973160"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5" name="Textplatzhalter 3">
            <a:extLst>
              <a:ext uri="{FF2B5EF4-FFF2-40B4-BE49-F238E27FC236}">
                <a16:creationId xmlns:a16="http://schemas.microsoft.com/office/drawing/2014/main" id="{B9B7F53E-4F96-40D1-9381-966444117101}"/>
              </a:ext>
            </a:extLst>
          </p:cNvPr>
          <p:cNvSpPr>
            <a:spLocks noGrp="1"/>
          </p:cNvSpPr>
          <p:nvPr>
            <p:ph type="body" sz="quarter" idx="64" hasCustomPrompt="1"/>
          </p:nvPr>
        </p:nvSpPr>
        <p:spPr>
          <a:xfrm>
            <a:off x="3973160"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5</a:t>
            </a:r>
          </a:p>
        </p:txBody>
      </p:sp>
      <p:sp>
        <p:nvSpPr>
          <p:cNvPr id="56" name="Textplatzhalter 3">
            <a:extLst>
              <a:ext uri="{FF2B5EF4-FFF2-40B4-BE49-F238E27FC236}">
                <a16:creationId xmlns:a16="http://schemas.microsoft.com/office/drawing/2014/main" id="{14FB1D66-D15A-4825-8883-755F01BA7595}"/>
              </a:ext>
            </a:extLst>
          </p:cNvPr>
          <p:cNvSpPr>
            <a:spLocks noGrp="1"/>
          </p:cNvSpPr>
          <p:nvPr>
            <p:ph type="body" sz="quarter" idx="65" hasCustomPrompt="1"/>
          </p:nvPr>
        </p:nvSpPr>
        <p:spPr>
          <a:xfrm>
            <a:off x="3973160"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57" name="Textplatzhalter 3">
            <a:extLst>
              <a:ext uri="{FF2B5EF4-FFF2-40B4-BE49-F238E27FC236}">
                <a16:creationId xmlns:a16="http://schemas.microsoft.com/office/drawing/2014/main" id="{BC7E7470-7768-445D-B75F-3311F9C56C41}"/>
              </a:ext>
            </a:extLst>
          </p:cNvPr>
          <p:cNvSpPr>
            <a:spLocks noGrp="1"/>
          </p:cNvSpPr>
          <p:nvPr>
            <p:ph type="body" sz="quarter" idx="66" hasCustomPrompt="1"/>
          </p:nvPr>
        </p:nvSpPr>
        <p:spPr>
          <a:xfrm>
            <a:off x="7395456" y="1700213"/>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58" name="Textplatzhalter 3">
            <a:extLst>
              <a:ext uri="{FF2B5EF4-FFF2-40B4-BE49-F238E27FC236}">
                <a16:creationId xmlns:a16="http://schemas.microsoft.com/office/drawing/2014/main" id="{E201FB22-3385-45D1-8A4C-AA30C0A901C3}"/>
              </a:ext>
            </a:extLst>
          </p:cNvPr>
          <p:cNvSpPr>
            <a:spLocks noGrp="1"/>
          </p:cNvSpPr>
          <p:nvPr>
            <p:ph type="body" sz="quarter" idx="67" hasCustomPrompt="1"/>
          </p:nvPr>
        </p:nvSpPr>
        <p:spPr>
          <a:xfrm>
            <a:off x="7395456" y="2022635"/>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9</a:t>
            </a:r>
          </a:p>
        </p:txBody>
      </p:sp>
      <p:sp>
        <p:nvSpPr>
          <p:cNvPr id="59" name="Textplatzhalter 3">
            <a:extLst>
              <a:ext uri="{FF2B5EF4-FFF2-40B4-BE49-F238E27FC236}">
                <a16:creationId xmlns:a16="http://schemas.microsoft.com/office/drawing/2014/main" id="{8FC314C2-204E-4BB5-8FCA-55C1CD3C7251}"/>
              </a:ext>
            </a:extLst>
          </p:cNvPr>
          <p:cNvSpPr>
            <a:spLocks noGrp="1"/>
          </p:cNvSpPr>
          <p:nvPr>
            <p:ph type="body" sz="quarter" idx="68" hasCustomPrompt="1"/>
          </p:nvPr>
        </p:nvSpPr>
        <p:spPr>
          <a:xfrm>
            <a:off x="7395456" y="2390872"/>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0" name="Textplatzhalter 3">
            <a:extLst>
              <a:ext uri="{FF2B5EF4-FFF2-40B4-BE49-F238E27FC236}">
                <a16:creationId xmlns:a16="http://schemas.microsoft.com/office/drawing/2014/main" id="{BB6244DF-CA77-44DE-B7EA-E2785BC4A802}"/>
              </a:ext>
            </a:extLst>
          </p:cNvPr>
          <p:cNvSpPr>
            <a:spLocks noGrp="1"/>
          </p:cNvSpPr>
          <p:nvPr>
            <p:ph type="body" sz="quarter" idx="69" hasCustomPrompt="1"/>
          </p:nvPr>
        </p:nvSpPr>
        <p:spPr>
          <a:xfrm>
            <a:off x="5508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1" name="Textplatzhalter 3">
            <a:extLst>
              <a:ext uri="{FF2B5EF4-FFF2-40B4-BE49-F238E27FC236}">
                <a16:creationId xmlns:a16="http://schemas.microsoft.com/office/drawing/2014/main" id="{C54E7310-756C-4F78-9435-281CABF59C04}"/>
              </a:ext>
            </a:extLst>
          </p:cNvPr>
          <p:cNvSpPr>
            <a:spLocks noGrp="1"/>
          </p:cNvSpPr>
          <p:nvPr>
            <p:ph type="body" sz="quarter" idx="70" hasCustomPrompt="1"/>
          </p:nvPr>
        </p:nvSpPr>
        <p:spPr>
          <a:xfrm>
            <a:off x="5508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2</a:t>
            </a:r>
          </a:p>
        </p:txBody>
      </p:sp>
      <p:sp>
        <p:nvSpPr>
          <p:cNvPr id="62" name="Textplatzhalter 3">
            <a:extLst>
              <a:ext uri="{FF2B5EF4-FFF2-40B4-BE49-F238E27FC236}">
                <a16:creationId xmlns:a16="http://schemas.microsoft.com/office/drawing/2014/main" id="{CB310BE0-7294-44E4-AA6F-EE045BC252F9}"/>
              </a:ext>
            </a:extLst>
          </p:cNvPr>
          <p:cNvSpPr>
            <a:spLocks noGrp="1"/>
          </p:cNvSpPr>
          <p:nvPr>
            <p:ph type="body" sz="quarter" idx="71" hasCustomPrompt="1"/>
          </p:nvPr>
        </p:nvSpPr>
        <p:spPr>
          <a:xfrm>
            <a:off x="547721"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3" name="Textplatzhalter 3">
            <a:extLst>
              <a:ext uri="{FF2B5EF4-FFF2-40B4-BE49-F238E27FC236}">
                <a16:creationId xmlns:a16="http://schemas.microsoft.com/office/drawing/2014/main" id="{F8E435ED-FB83-4C1F-87D5-715D0B956134}"/>
              </a:ext>
            </a:extLst>
          </p:cNvPr>
          <p:cNvSpPr>
            <a:spLocks noGrp="1"/>
          </p:cNvSpPr>
          <p:nvPr>
            <p:ph type="body" sz="quarter" idx="72" hasCustomPrompt="1"/>
          </p:nvPr>
        </p:nvSpPr>
        <p:spPr>
          <a:xfrm>
            <a:off x="5508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4" name="Textplatzhalter 3">
            <a:extLst>
              <a:ext uri="{FF2B5EF4-FFF2-40B4-BE49-F238E27FC236}">
                <a16:creationId xmlns:a16="http://schemas.microsoft.com/office/drawing/2014/main" id="{B135DC37-5469-4E2B-81A3-659FC42D05F0}"/>
              </a:ext>
            </a:extLst>
          </p:cNvPr>
          <p:cNvSpPr>
            <a:spLocks noGrp="1"/>
          </p:cNvSpPr>
          <p:nvPr>
            <p:ph type="body" sz="quarter" idx="73" hasCustomPrompt="1"/>
          </p:nvPr>
        </p:nvSpPr>
        <p:spPr>
          <a:xfrm>
            <a:off x="5508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3</a:t>
            </a:r>
          </a:p>
        </p:txBody>
      </p:sp>
      <p:sp>
        <p:nvSpPr>
          <p:cNvPr id="65" name="Textplatzhalter 3">
            <a:extLst>
              <a:ext uri="{FF2B5EF4-FFF2-40B4-BE49-F238E27FC236}">
                <a16:creationId xmlns:a16="http://schemas.microsoft.com/office/drawing/2014/main" id="{A4D78715-C2AC-4B79-BF84-F268607EC2B7}"/>
              </a:ext>
            </a:extLst>
          </p:cNvPr>
          <p:cNvSpPr>
            <a:spLocks noGrp="1"/>
          </p:cNvSpPr>
          <p:nvPr>
            <p:ph type="body" sz="quarter" idx="74" hasCustomPrompt="1"/>
          </p:nvPr>
        </p:nvSpPr>
        <p:spPr>
          <a:xfrm>
            <a:off x="547721"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66" name="Textplatzhalter 3">
            <a:extLst>
              <a:ext uri="{FF2B5EF4-FFF2-40B4-BE49-F238E27FC236}">
                <a16:creationId xmlns:a16="http://schemas.microsoft.com/office/drawing/2014/main" id="{61C2E96C-E02E-4FE7-AE7E-FE385A35EAF8}"/>
              </a:ext>
            </a:extLst>
          </p:cNvPr>
          <p:cNvSpPr>
            <a:spLocks noGrp="1"/>
          </p:cNvSpPr>
          <p:nvPr>
            <p:ph type="body" sz="quarter" idx="75" hasCustomPrompt="1"/>
          </p:nvPr>
        </p:nvSpPr>
        <p:spPr>
          <a:xfrm>
            <a:off x="3973160"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67" name="Textplatzhalter 3">
            <a:extLst>
              <a:ext uri="{FF2B5EF4-FFF2-40B4-BE49-F238E27FC236}">
                <a16:creationId xmlns:a16="http://schemas.microsoft.com/office/drawing/2014/main" id="{B59F9B95-2C7F-4982-9C10-B52CDA984CB7}"/>
              </a:ext>
            </a:extLst>
          </p:cNvPr>
          <p:cNvSpPr>
            <a:spLocks noGrp="1"/>
          </p:cNvSpPr>
          <p:nvPr>
            <p:ph type="body" sz="quarter" idx="76" hasCustomPrompt="1"/>
          </p:nvPr>
        </p:nvSpPr>
        <p:spPr>
          <a:xfrm>
            <a:off x="3973160"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6</a:t>
            </a:r>
          </a:p>
        </p:txBody>
      </p:sp>
      <p:sp>
        <p:nvSpPr>
          <p:cNvPr id="105" name="Textplatzhalter 3">
            <a:extLst>
              <a:ext uri="{FF2B5EF4-FFF2-40B4-BE49-F238E27FC236}">
                <a16:creationId xmlns:a16="http://schemas.microsoft.com/office/drawing/2014/main" id="{4E1058C0-0F3F-4E7F-B468-AB91E89BCE86}"/>
              </a:ext>
            </a:extLst>
          </p:cNvPr>
          <p:cNvSpPr>
            <a:spLocks noGrp="1"/>
          </p:cNvSpPr>
          <p:nvPr>
            <p:ph type="body" sz="quarter" idx="77" hasCustomPrompt="1"/>
          </p:nvPr>
        </p:nvSpPr>
        <p:spPr>
          <a:xfrm>
            <a:off x="3973160"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6" name="Textplatzhalter 3">
            <a:extLst>
              <a:ext uri="{FF2B5EF4-FFF2-40B4-BE49-F238E27FC236}">
                <a16:creationId xmlns:a16="http://schemas.microsoft.com/office/drawing/2014/main" id="{B5F75FC0-195C-447B-87A0-FF8568298EC6}"/>
              </a:ext>
            </a:extLst>
          </p:cNvPr>
          <p:cNvSpPr>
            <a:spLocks noGrp="1"/>
          </p:cNvSpPr>
          <p:nvPr>
            <p:ph type="body" sz="quarter" idx="78" hasCustomPrompt="1"/>
          </p:nvPr>
        </p:nvSpPr>
        <p:spPr>
          <a:xfrm>
            <a:off x="3973160"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07" name="Textplatzhalter 3">
            <a:extLst>
              <a:ext uri="{FF2B5EF4-FFF2-40B4-BE49-F238E27FC236}">
                <a16:creationId xmlns:a16="http://schemas.microsoft.com/office/drawing/2014/main" id="{5048C232-FA01-4578-827F-296A5F9FB871}"/>
              </a:ext>
            </a:extLst>
          </p:cNvPr>
          <p:cNvSpPr>
            <a:spLocks noGrp="1"/>
          </p:cNvSpPr>
          <p:nvPr>
            <p:ph type="body" sz="quarter" idx="79" hasCustomPrompt="1"/>
          </p:nvPr>
        </p:nvSpPr>
        <p:spPr>
          <a:xfrm>
            <a:off x="3973160"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7</a:t>
            </a:r>
          </a:p>
        </p:txBody>
      </p:sp>
      <p:sp>
        <p:nvSpPr>
          <p:cNvPr id="3" name="Foliennummernplatzhalter 2">
            <a:extLst>
              <a:ext uri="{FF2B5EF4-FFF2-40B4-BE49-F238E27FC236}">
                <a16:creationId xmlns:a16="http://schemas.microsoft.com/office/drawing/2014/main" id="{10B33891-8696-46C8-AB90-4A484311CCAB}"/>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08" name="Textplatzhalter 3">
            <a:extLst>
              <a:ext uri="{FF2B5EF4-FFF2-40B4-BE49-F238E27FC236}">
                <a16:creationId xmlns:a16="http://schemas.microsoft.com/office/drawing/2014/main" id="{33DF590D-98BE-4442-A404-2F173B90F844}"/>
              </a:ext>
            </a:extLst>
          </p:cNvPr>
          <p:cNvSpPr>
            <a:spLocks noGrp="1"/>
          </p:cNvSpPr>
          <p:nvPr>
            <p:ph type="body" sz="quarter" idx="80" hasCustomPrompt="1"/>
          </p:nvPr>
        </p:nvSpPr>
        <p:spPr>
          <a:xfrm>
            <a:off x="3973160"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09" name="Textplatzhalter 3">
            <a:extLst>
              <a:ext uri="{FF2B5EF4-FFF2-40B4-BE49-F238E27FC236}">
                <a16:creationId xmlns:a16="http://schemas.microsoft.com/office/drawing/2014/main" id="{E146728B-C1CC-4A26-975E-1F80C0EEB1FA}"/>
              </a:ext>
            </a:extLst>
          </p:cNvPr>
          <p:cNvSpPr>
            <a:spLocks noGrp="1"/>
          </p:cNvSpPr>
          <p:nvPr>
            <p:ph type="body" sz="quarter" idx="81" hasCustomPrompt="1"/>
          </p:nvPr>
        </p:nvSpPr>
        <p:spPr>
          <a:xfrm>
            <a:off x="7395456" y="2766060"/>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0" name="Textplatzhalter 3">
            <a:extLst>
              <a:ext uri="{FF2B5EF4-FFF2-40B4-BE49-F238E27FC236}">
                <a16:creationId xmlns:a16="http://schemas.microsoft.com/office/drawing/2014/main" id="{FE3599FC-F229-408A-B27F-DA32F839CF4F}"/>
              </a:ext>
            </a:extLst>
          </p:cNvPr>
          <p:cNvSpPr>
            <a:spLocks noGrp="1"/>
          </p:cNvSpPr>
          <p:nvPr>
            <p:ph type="body" sz="quarter" idx="82" hasCustomPrompt="1"/>
          </p:nvPr>
        </p:nvSpPr>
        <p:spPr>
          <a:xfrm>
            <a:off x="7395456" y="3088482"/>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0</a:t>
            </a:r>
          </a:p>
        </p:txBody>
      </p:sp>
      <p:sp>
        <p:nvSpPr>
          <p:cNvPr id="111" name="Textplatzhalter 3">
            <a:extLst>
              <a:ext uri="{FF2B5EF4-FFF2-40B4-BE49-F238E27FC236}">
                <a16:creationId xmlns:a16="http://schemas.microsoft.com/office/drawing/2014/main" id="{EB3AB6FF-941F-41F2-9B5D-7980D4D9E565}"/>
              </a:ext>
            </a:extLst>
          </p:cNvPr>
          <p:cNvSpPr>
            <a:spLocks noGrp="1"/>
          </p:cNvSpPr>
          <p:nvPr>
            <p:ph type="body" sz="quarter" idx="83" hasCustomPrompt="1"/>
          </p:nvPr>
        </p:nvSpPr>
        <p:spPr>
          <a:xfrm>
            <a:off x="7395456" y="3456719"/>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112" name="Textplatzhalter 3">
            <a:extLst>
              <a:ext uri="{FF2B5EF4-FFF2-40B4-BE49-F238E27FC236}">
                <a16:creationId xmlns:a16="http://schemas.microsoft.com/office/drawing/2014/main" id="{B93D6E89-014A-4D33-A463-CE2581CA5769}"/>
              </a:ext>
            </a:extLst>
          </p:cNvPr>
          <p:cNvSpPr>
            <a:spLocks noGrp="1"/>
          </p:cNvSpPr>
          <p:nvPr>
            <p:ph type="body" sz="quarter" idx="84" hasCustomPrompt="1"/>
          </p:nvPr>
        </p:nvSpPr>
        <p:spPr>
          <a:xfrm>
            <a:off x="7395456" y="3831907"/>
            <a:ext cx="1058861" cy="284556"/>
          </a:xfrm>
          <a:ln>
            <a:noFill/>
          </a:ln>
        </p:spPr>
        <p:txBody>
          <a:bodyPr anchor="ctr"/>
          <a:lstStyle>
            <a:lvl1pPr marL="0" indent="0">
              <a:buFont typeface="Arial" panose="020B0604020202020204" pitchFamily="34" charset="0"/>
              <a:buNone/>
              <a:defRPr sz="2000" b="0"/>
            </a:lvl1pPr>
          </a:lstStyle>
          <a:p>
            <a:pPr lvl="0"/>
            <a:r>
              <a:rPr lang="de-DE" dirty="0"/>
              <a:t>##</a:t>
            </a:r>
          </a:p>
        </p:txBody>
      </p:sp>
      <p:sp>
        <p:nvSpPr>
          <p:cNvPr id="113" name="Textplatzhalter 3">
            <a:extLst>
              <a:ext uri="{FF2B5EF4-FFF2-40B4-BE49-F238E27FC236}">
                <a16:creationId xmlns:a16="http://schemas.microsoft.com/office/drawing/2014/main" id="{A078146D-1AA4-4540-A14F-27984D722C60}"/>
              </a:ext>
            </a:extLst>
          </p:cNvPr>
          <p:cNvSpPr>
            <a:spLocks noGrp="1"/>
          </p:cNvSpPr>
          <p:nvPr>
            <p:ph type="body" sz="quarter" idx="85" hasCustomPrompt="1"/>
          </p:nvPr>
        </p:nvSpPr>
        <p:spPr>
          <a:xfrm>
            <a:off x="7395456" y="4154329"/>
            <a:ext cx="2508534" cy="284556"/>
          </a:xfrm>
        </p:spPr>
        <p:txBody>
          <a:bodyPr anchor="ctr"/>
          <a:lstStyle>
            <a:lvl1pPr marL="0" indent="0">
              <a:buFont typeface="Arial" panose="020B0604020202020204" pitchFamily="34" charset="0"/>
              <a:buNone/>
              <a:defRPr sz="1600" b="0" cap="all" baseline="0"/>
            </a:lvl1pPr>
          </a:lstStyle>
          <a:p>
            <a:pPr lvl="0"/>
            <a:r>
              <a:rPr lang="de-DE" dirty="0" err="1"/>
              <a:t>Agendapunkt</a:t>
            </a:r>
            <a:r>
              <a:rPr lang="de-DE" dirty="0"/>
              <a:t> 11</a:t>
            </a:r>
          </a:p>
        </p:txBody>
      </p:sp>
      <p:sp>
        <p:nvSpPr>
          <p:cNvPr id="114" name="Textplatzhalter 3">
            <a:extLst>
              <a:ext uri="{FF2B5EF4-FFF2-40B4-BE49-F238E27FC236}">
                <a16:creationId xmlns:a16="http://schemas.microsoft.com/office/drawing/2014/main" id="{639AF660-0769-4FFF-9578-34F78B453FC5}"/>
              </a:ext>
            </a:extLst>
          </p:cNvPr>
          <p:cNvSpPr>
            <a:spLocks noGrp="1"/>
          </p:cNvSpPr>
          <p:nvPr>
            <p:ph type="body" sz="quarter" idx="86" hasCustomPrompt="1"/>
          </p:nvPr>
        </p:nvSpPr>
        <p:spPr>
          <a:xfrm>
            <a:off x="7395456" y="4522566"/>
            <a:ext cx="1062000" cy="36000"/>
          </a:xfrm>
          <a:solidFill>
            <a:schemeClr val="accent3"/>
          </a:solidFill>
        </p:spPr>
        <p:txBody>
          <a:bodyPr anchor="ctr"/>
          <a:lstStyle>
            <a:lvl1pPr marL="0" indent="0">
              <a:buFont typeface="Arial" panose="020B0604020202020204" pitchFamily="34" charset="0"/>
              <a:buNone/>
              <a:defRPr sz="1600" b="0" cap="all" baseline="0"/>
            </a:lvl1pPr>
          </a:lstStyle>
          <a:p>
            <a:pPr lvl="0"/>
            <a:r>
              <a:rPr lang="de-DE" dirty="0"/>
              <a:t> </a:t>
            </a:r>
          </a:p>
        </p:txBody>
      </p:sp>
      <p:sp>
        <p:nvSpPr>
          <p:cNvPr id="4" name="Textplatzhalter 3">
            <a:extLst>
              <a:ext uri="{FF2B5EF4-FFF2-40B4-BE49-F238E27FC236}">
                <a16:creationId xmlns:a16="http://schemas.microsoft.com/office/drawing/2014/main" id="{F88EE862-7DA8-42B1-A8EE-C0D31A8FA778}"/>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Überflüssige </a:t>
            </a:r>
            <a:r>
              <a:rPr lang="de-DE" dirty="0" err="1"/>
              <a:t>Agendapunkte</a:t>
            </a:r>
            <a:r>
              <a:rPr lang="de-DE" dirty="0"/>
              <a:t> löschen</a:t>
            </a:r>
          </a:p>
        </p:txBody>
      </p:sp>
      <p:sp>
        <p:nvSpPr>
          <p:cNvPr id="104" name="Titel 103">
            <a:extLst>
              <a:ext uri="{FF2B5EF4-FFF2-40B4-BE49-F238E27FC236}">
                <a16:creationId xmlns:a16="http://schemas.microsoft.com/office/drawing/2014/main" id="{C98E9493-1F8B-4FBF-92CD-FD88C8614C6D}"/>
              </a:ext>
            </a:extLst>
          </p:cNvPr>
          <p:cNvSpPr>
            <a:spLocks noGrp="1"/>
          </p:cNvSpPr>
          <p:nvPr>
            <p:ph type="title" hasCustomPrompt="1"/>
          </p:nvPr>
        </p:nvSpPr>
        <p:spPr/>
        <p:txBody>
          <a:bodyPr/>
          <a:lstStyle>
            <a:lvl1pPr>
              <a:defRPr sz="2400"/>
            </a:lvl1pPr>
          </a:lstStyle>
          <a:p>
            <a:r>
              <a:rPr lang="de-DE" dirty="0"/>
              <a:t>Agenda mit 12 </a:t>
            </a:r>
            <a:r>
              <a:rPr lang="de-DE" dirty="0" err="1"/>
              <a:t>Agendapunkten</a:t>
            </a:r>
            <a:endParaRPr lang="de-DE" dirty="0"/>
          </a:p>
        </p:txBody>
      </p:sp>
    </p:spTree>
    <p:extLst>
      <p:ext uri="{BB962C8B-B14F-4D97-AF65-F5344CB8AC3E}">
        <p14:creationId xmlns:p14="http://schemas.microsoft.com/office/powerpoint/2010/main" val="1519303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sp>
        <p:nvSpPr>
          <p:cNvPr id="9" name="Textplatzhalter 7">
            <a:extLst>
              <a:ext uri="{FF2B5EF4-FFF2-40B4-BE49-F238E27FC236}">
                <a16:creationId xmlns:a16="http://schemas.microsoft.com/office/drawing/2014/main" id="{F1F9F7F3-E297-488C-9180-98A0D20708E9}"/>
              </a:ext>
            </a:extLst>
          </p:cNvPr>
          <p:cNvSpPr>
            <a:spLocks noGrp="1"/>
          </p:cNvSpPr>
          <p:nvPr>
            <p:ph type="body" sz="quarter" idx="13"/>
          </p:nvPr>
        </p:nvSpPr>
        <p:spPr>
          <a:xfrm>
            <a:off x="550800" y="1414800"/>
            <a:ext cx="11088000"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4" name="Textplatzhalter 3">
            <a:extLst>
              <a:ext uri="{FF2B5EF4-FFF2-40B4-BE49-F238E27FC236}">
                <a16:creationId xmlns:a16="http://schemas.microsoft.com/office/drawing/2014/main" id="{9906BC7D-FDBC-4717-AFE2-35AF248D4EE1}"/>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8" name="Textplatzhalter 3">
            <a:extLst>
              <a:ext uri="{FF2B5EF4-FFF2-40B4-BE49-F238E27FC236}">
                <a16:creationId xmlns:a16="http://schemas.microsoft.com/office/drawing/2014/main" id="{24B6441E-853A-40CB-82EE-6D02E85650A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2" name="Titel 1">
            <a:extLst>
              <a:ext uri="{FF2B5EF4-FFF2-40B4-BE49-F238E27FC236}">
                <a16:creationId xmlns:a16="http://schemas.microsoft.com/office/drawing/2014/main" id="{954EE93F-0761-45C0-94F2-7FB72E74DE69}"/>
              </a:ext>
            </a:extLst>
          </p:cNvPr>
          <p:cNvSpPr>
            <a:spLocks noGrp="1"/>
          </p:cNvSpPr>
          <p:nvPr>
            <p:ph type="title" hasCustomPrompt="1"/>
          </p:nvPr>
        </p:nvSpPr>
        <p:spPr/>
        <p:txBody>
          <a:bodyPr/>
          <a:lstStyle>
            <a:lvl1pPr>
              <a:defRPr sz="2400"/>
            </a:lvl1pPr>
          </a:lstStyle>
          <a:p>
            <a:r>
              <a:rPr lang="de-DE" dirty="0"/>
              <a:t>Textfolie</a:t>
            </a:r>
          </a:p>
        </p:txBody>
      </p:sp>
    </p:spTree>
    <p:extLst>
      <p:ext uri="{BB962C8B-B14F-4D97-AF65-F5344CB8AC3E}">
        <p14:creationId xmlns:p14="http://schemas.microsoft.com/office/powerpoint/2010/main" val="1633053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folie_zw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4">
            <a:extLst>
              <a:ext uri="{FF2B5EF4-FFF2-40B4-BE49-F238E27FC236}">
                <a16:creationId xmlns:a16="http://schemas.microsoft.com/office/drawing/2014/main" id="{DAD89AB9-E414-4619-ACC3-36F954C2726C}"/>
              </a:ext>
            </a:extLst>
          </p:cNvPr>
          <p:cNvSpPr>
            <a:spLocks noGrp="1"/>
          </p:cNvSpPr>
          <p:nvPr>
            <p:ph sz="quarter" idx="19"/>
          </p:nvPr>
        </p:nvSpPr>
        <p:spPr>
          <a:xfrm>
            <a:off x="6274636" y="1414799"/>
            <a:ext cx="5364225" cy="441323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r Verbinder 6">
            <a:extLst>
              <a:ext uri="{FF2B5EF4-FFF2-40B4-BE49-F238E27FC236}">
                <a16:creationId xmlns:a16="http://schemas.microsoft.com/office/drawing/2014/main" id="{F7C1B1C2-C07C-4168-A540-C144876FBE8E}"/>
              </a:ext>
            </a:extLst>
          </p:cNvPr>
          <p:cNvCxnSpPr>
            <a:cxnSpLocks/>
          </p:cNvCxnSpPr>
          <p:nvPr userDrawn="1"/>
        </p:nvCxnSpPr>
        <p:spPr>
          <a:xfrm flipV="1">
            <a:off x="591661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7AA13208-E29B-4E70-8A82-79F8D3D46118}"/>
              </a:ext>
            </a:extLst>
          </p:cNvPr>
          <p:cNvSpPr txBox="1"/>
          <p:nvPr userDrawn="1"/>
        </p:nvSpPr>
        <p:spPr>
          <a:xfrm>
            <a:off x="5522912" y="-209550"/>
            <a:ext cx="500062" cy="138499"/>
          </a:xfrm>
          <a:prstGeom prst="rect">
            <a:avLst/>
          </a:prstGeom>
          <a:noFill/>
        </p:spPr>
        <p:txBody>
          <a:bodyPr wrap="square" lIns="0" tIns="0" rIns="0" bIns="0" rtlCol="0">
            <a:noAutofit/>
          </a:bodyPr>
          <a:lstStyle/>
          <a:p>
            <a:r>
              <a:rPr lang="de-DE" sz="900" dirty="0"/>
              <a:t>0,50</a:t>
            </a:r>
          </a:p>
        </p:txBody>
      </p:sp>
      <p:cxnSp>
        <p:nvCxnSpPr>
          <p:cNvPr id="11" name="Gerader Verbinder 10">
            <a:extLst>
              <a:ext uri="{FF2B5EF4-FFF2-40B4-BE49-F238E27FC236}">
                <a16:creationId xmlns:a16="http://schemas.microsoft.com/office/drawing/2014/main" id="{915066E9-296C-4BC9-88E9-502A79729C95}"/>
              </a:ext>
            </a:extLst>
          </p:cNvPr>
          <p:cNvCxnSpPr>
            <a:cxnSpLocks/>
          </p:cNvCxnSpPr>
          <p:nvPr userDrawn="1"/>
        </p:nvCxnSpPr>
        <p:spPr>
          <a:xfrm flipV="1">
            <a:off x="6273801"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3891BDBC-96EB-47F4-9D82-B6566A4E5112}"/>
              </a:ext>
            </a:extLst>
          </p:cNvPr>
          <p:cNvSpPr txBox="1"/>
          <p:nvPr userDrawn="1"/>
        </p:nvSpPr>
        <p:spPr>
          <a:xfrm>
            <a:off x="6407150" y="-209550"/>
            <a:ext cx="500062" cy="138499"/>
          </a:xfrm>
          <a:prstGeom prst="rect">
            <a:avLst/>
          </a:prstGeom>
          <a:noFill/>
        </p:spPr>
        <p:txBody>
          <a:bodyPr wrap="square" lIns="0" tIns="0" rIns="0" bIns="0" rtlCol="0">
            <a:noAutofit/>
          </a:bodyPr>
          <a:lstStyle/>
          <a:p>
            <a:r>
              <a:rPr lang="de-DE" sz="900" dirty="0"/>
              <a:t>0,50</a:t>
            </a:r>
          </a:p>
        </p:txBody>
      </p:sp>
      <p:sp>
        <p:nvSpPr>
          <p:cNvPr id="14" name="Textplatzhalter 3">
            <a:extLst>
              <a:ext uri="{FF2B5EF4-FFF2-40B4-BE49-F238E27FC236}">
                <a16:creationId xmlns:a16="http://schemas.microsoft.com/office/drawing/2014/main" id="{C39039E1-AA99-45F6-9656-70C2B23A2656}"/>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726C2D1-5259-462C-90C5-E59A854275CC}"/>
              </a:ext>
            </a:extLst>
          </p:cNvPr>
          <p:cNvSpPr>
            <a:spLocks noGrp="1"/>
          </p:cNvSpPr>
          <p:nvPr>
            <p:ph type="title" hasCustomPrompt="1"/>
          </p:nvPr>
        </p:nvSpPr>
        <p:spPr/>
        <p:txBody>
          <a:bodyPr/>
          <a:lstStyle>
            <a:lvl1pPr>
              <a:defRPr sz="2400"/>
            </a:lvl1pPr>
          </a:lstStyle>
          <a:p>
            <a:r>
              <a:rPr lang="de-DE" dirty="0"/>
              <a:t>Inhaltsfolie, zweispaltig</a:t>
            </a:r>
          </a:p>
        </p:txBody>
      </p:sp>
      <p:sp>
        <p:nvSpPr>
          <p:cNvPr id="13" name="Textplatzhalter 3">
            <a:extLst>
              <a:ext uri="{FF2B5EF4-FFF2-40B4-BE49-F238E27FC236}">
                <a16:creationId xmlns:a16="http://schemas.microsoft.com/office/drawing/2014/main" id="{6A0741AD-DE4C-47A0-ACC1-A2B0CD9B0158}"/>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197050338"/>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folie_dreispalti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Inhaltsplatzhalter 4">
            <a:extLst>
              <a:ext uri="{FF2B5EF4-FFF2-40B4-BE49-F238E27FC236}">
                <a16:creationId xmlns:a16="http://schemas.microsoft.com/office/drawing/2014/main" id="{B0BEE877-F4CF-4B2D-B338-06B30C9C2AB6}"/>
              </a:ext>
            </a:extLst>
          </p:cNvPr>
          <p:cNvSpPr>
            <a:spLocks noGrp="1"/>
          </p:cNvSpPr>
          <p:nvPr>
            <p:ph sz="quarter" idx="20"/>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4" name="Textplatzhalter 3">
            <a:extLst>
              <a:ext uri="{FF2B5EF4-FFF2-40B4-BE49-F238E27FC236}">
                <a16:creationId xmlns:a16="http://schemas.microsoft.com/office/drawing/2014/main" id="{DAC6A7FF-6BA2-4C98-9A4D-E9B04C57FF89}"/>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6D21FE69-C171-47F5-9D7A-8F2E85637E53}"/>
              </a:ext>
            </a:extLst>
          </p:cNvPr>
          <p:cNvSpPr>
            <a:spLocks noGrp="1"/>
          </p:cNvSpPr>
          <p:nvPr>
            <p:ph type="title" hasCustomPrompt="1"/>
          </p:nvPr>
        </p:nvSpPr>
        <p:spPr/>
        <p:txBody>
          <a:bodyPr/>
          <a:lstStyle>
            <a:lvl1pPr>
              <a:defRPr sz="2400"/>
            </a:lvl1pPr>
          </a:lstStyle>
          <a:p>
            <a:r>
              <a:rPr lang="de-DE" dirty="0"/>
              <a:t>Inhaltsfolie, dreispaltig</a:t>
            </a:r>
          </a:p>
        </p:txBody>
      </p:sp>
      <p:sp>
        <p:nvSpPr>
          <p:cNvPr id="23" name="Textplatzhalter 3">
            <a:extLst>
              <a:ext uri="{FF2B5EF4-FFF2-40B4-BE49-F238E27FC236}">
                <a16:creationId xmlns:a16="http://schemas.microsoft.com/office/drawing/2014/main" id="{0BE647FB-F8CD-408C-9CBF-008B04BBF4BF}"/>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4124328936"/>
      </p:ext>
    </p:extLst>
  </p:cSld>
  <p:clrMapOvr>
    <a:masterClrMapping/>
  </p:clrMapOvr>
  <p:extLst>
    <p:ext uri="{DCECCB84-F9BA-43D5-87BE-67443E8EF086}">
      <p15:sldGuideLst xmlns:p15="http://schemas.microsoft.com/office/powerpoint/2012/main">
        <p15:guide id="2" pos="2525" userDrawn="1">
          <p15:clr>
            <a:srgbClr val="FBAE40"/>
          </p15:clr>
        </p15:guide>
        <p15:guide id="3" pos="2751" userDrawn="1">
          <p15:clr>
            <a:srgbClr val="FBAE40"/>
          </p15:clr>
        </p15:guide>
        <p15:guide id="4" pos="4929" userDrawn="1">
          <p15:clr>
            <a:srgbClr val="FBAE40"/>
          </p15:clr>
        </p15:guide>
        <p15:guide id="5" pos="515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1B76EBF-D78F-474C-935F-52F14B459701}"/>
              </a:ext>
            </a:extLst>
          </p:cNvPr>
          <p:cNvSpPr>
            <a:spLocks noGrp="1"/>
          </p:cNvSpPr>
          <p:nvPr>
            <p:ph type="sldNum" sz="quarter" idx="10"/>
          </p:nvPr>
        </p:nvSpPr>
        <p:spPr/>
        <p:txBody>
          <a:bodyPr/>
          <a:lstStyle/>
          <a:p>
            <a:fld id="{A4F0F259-A46A-4ED8-ADC1-905ED7FEFB94}" type="slidenum">
              <a:rPr lang="de-DE" smtClean="0"/>
              <a:pPr/>
              <a:t>‹#›</a:t>
            </a:fld>
            <a:endParaRPr lang="de-DE" dirty="0"/>
          </a:p>
        </p:txBody>
      </p:sp>
      <p:sp>
        <p:nvSpPr>
          <p:cNvPr id="18" name="Bildplatzhalter 17">
            <a:extLst>
              <a:ext uri="{FF2B5EF4-FFF2-40B4-BE49-F238E27FC236}">
                <a16:creationId xmlns:a16="http://schemas.microsoft.com/office/drawing/2014/main" id="{40AEF3B9-58D6-437C-95A3-F5FE2C54075B}"/>
              </a:ext>
            </a:extLst>
          </p:cNvPr>
          <p:cNvSpPr>
            <a:spLocks noGrp="1"/>
          </p:cNvSpPr>
          <p:nvPr>
            <p:ph type="pic" sz="quarter" idx="12" hasCustomPrompt="1"/>
          </p:nvPr>
        </p:nvSpPr>
        <p:spPr>
          <a:xfrm>
            <a:off x="0" y="1"/>
            <a:ext cx="6857999" cy="6857999"/>
          </a:xfrm>
          <a:custGeom>
            <a:avLst/>
            <a:gdLst>
              <a:gd name="connsiteX0" fmla="*/ 4589999 w 6857999"/>
              <a:gd name="connsiteY0" fmla="*/ 4590000 h 6857999"/>
              <a:gd name="connsiteX1" fmla="*/ 6857999 w 6857999"/>
              <a:gd name="connsiteY1" fmla="*/ 4590000 h 6857999"/>
              <a:gd name="connsiteX2" fmla="*/ 6857999 w 6857999"/>
              <a:gd name="connsiteY2" fmla="*/ 6857999 h 6857999"/>
              <a:gd name="connsiteX3" fmla="*/ 4589999 w 6857999"/>
              <a:gd name="connsiteY3" fmla="*/ 6857999 h 6857999"/>
              <a:gd name="connsiteX4" fmla="*/ 2304000 w 6857999"/>
              <a:gd name="connsiteY4" fmla="*/ 4590000 h 6857999"/>
              <a:gd name="connsiteX5" fmla="*/ 4553999 w 6857999"/>
              <a:gd name="connsiteY5" fmla="*/ 4590000 h 6857999"/>
              <a:gd name="connsiteX6" fmla="*/ 4553999 w 6857999"/>
              <a:gd name="connsiteY6" fmla="*/ 6857999 h 6857999"/>
              <a:gd name="connsiteX7" fmla="*/ 2304000 w 6857999"/>
              <a:gd name="connsiteY7" fmla="*/ 6857999 h 6857999"/>
              <a:gd name="connsiteX8" fmla="*/ 2304000 w 6857999"/>
              <a:gd name="connsiteY8" fmla="*/ 2304000 h 6857999"/>
              <a:gd name="connsiteX9" fmla="*/ 4553999 w 6857999"/>
              <a:gd name="connsiteY9" fmla="*/ 2304000 h 6857999"/>
              <a:gd name="connsiteX10" fmla="*/ 4553999 w 6857999"/>
              <a:gd name="connsiteY10" fmla="*/ 4554000 h 6857999"/>
              <a:gd name="connsiteX11" fmla="*/ 2304000 w 6857999"/>
              <a:gd name="connsiteY11" fmla="*/ 4554000 h 6857999"/>
              <a:gd name="connsiteX12" fmla="*/ 0 w 6857999"/>
              <a:gd name="connsiteY12" fmla="*/ 2304000 h 6857999"/>
              <a:gd name="connsiteX13" fmla="*/ 2268000 w 6857999"/>
              <a:gd name="connsiteY13" fmla="*/ 2304000 h 6857999"/>
              <a:gd name="connsiteX14" fmla="*/ 2268000 w 6857999"/>
              <a:gd name="connsiteY14" fmla="*/ 4554000 h 6857999"/>
              <a:gd name="connsiteX15" fmla="*/ 0 w 6857999"/>
              <a:gd name="connsiteY15" fmla="*/ 4554000 h 6857999"/>
              <a:gd name="connsiteX16" fmla="*/ 4589999 w 6857999"/>
              <a:gd name="connsiteY16" fmla="*/ 0 h 6857999"/>
              <a:gd name="connsiteX17" fmla="*/ 6857999 w 6857999"/>
              <a:gd name="connsiteY17" fmla="*/ 0 h 6857999"/>
              <a:gd name="connsiteX18" fmla="*/ 6857999 w 6857999"/>
              <a:gd name="connsiteY18" fmla="*/ 2268000 h 6857999"/>
              <a:gd name="connsiteX19" fmla="*/ 4589999 w 6857999"/>
              <a:gd name="connsiteY19" fmla="*/ 2268000 h 6857999"/>
              <a:gd name="connsiteX20" fmla="*/ 0 w 6857999"/>
              <a:gd name="connsiteY20" fmla="*/ 0 h 6857999"/>
              <a:gd name="connsiteX21" fmla="*/ 2268000 w 6857999"/>
              <a:gd name="connsiteY21" fmla="*/ 0 h 6857999"/>
              <a:gd name="connsiteX22" fmla="*/ 2268000 w 6857999"/>
              <a:gd name="connsiteY22" fmla="*/ 2268000 h 6857999"/>
              <a:gd name="connsiteX23" fmla="*/ 0 w 6857999"/>
              <a:gd name="connsiteY23" fmla="*/ 226800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7999" h="6857999">
                <a:moveTo>
                  <a:pt x="4589999" y="4590000"/>
                </a:moveTo>
                <a:lnTo>
                  <a:pt x="6857999" y="4590000"/>
                </a:lnTo>
                <a:lnTo>
                  <a:pt x="6857999" y="6857999"/>
                </a:lnTo>
                <a:lnTo>
                  <a:pt x="4589999" y="6857999"/>
                </a:lnTo>
                <a:close/>
                <a:moveTo>
                  <a:pt x="2304000" y="4590000"/>
                </a:moveTo>
                <a:lnTo>
                  <a:pt x="4553999" y="4590000"/>
                </a:lnTo>
                <a:lnTo>
                  <a:pt x="4553999" y="6857999"/>
                </a:lnTo>
                <a:lnTo>
                  <a:pt x="2304000" y="6857999"/>
                </a:lnTo>
                <a:close/>
                <a:moveTo>
                  <a:pt x="2304000" y="2304000"/>
                </a:moveTo>
                <a:lnTo>
                  <a:pt x="4553999" y="2304000"/>
                </a:lnTo>
                <a:lnTo>
                  <a:pt x="4553999" y="4554000"/>
                </a:lnTo>
                <a:lnTo>
                  <a:pt x="2304000" y="4554000"/>
                </a:lnTo>
                <a:close/>
                <a:moveTo>
                  <a:pt x="0" y="2304000"/>
                </a:moveTo>
                <a:lnTo>
                  <a:pt x="2268000" y="2304000"/>
                </a:lnTo>
                <a:lnTo>
                  <a:pt x="2268000" y="4554000"/>
                </a:lnTo>
                <a:lnTo>
                  <a:pt x="0" y="4554000"/>
                </a:lnTo>
                <a:close/>
                <a:moveTo>
                  <a:pt x="4589999" y="0"/>
                </a:moveTo>
                <a:lnTo>
                  <a:pt x="6857999" y="0"/>
                </a:lnTo>
                <a:lnTo>
                  <a:pt x="6857999" y="2268000"/>
                </a:lnTo>
                <a:lnTo>
                  <a:pt x="4589999" y="2268000"/>
                </a:lnTo>
                <a:close/>
                <a:moveTo>
                  <a:pt x="0" y="0"/>
                </a:moveTo>
                <a:lnTo>
                  <a:pt x="2268000" y="0"/>
                </a:lnTo>
                <a:lnTo>
                  <a:pt x="2268000" y="2268000"/>
                </a:lnTo>
                <a:lnTo>
                  <a:pt x="0" y="2268000"/>
                </a:lnTo>
                <a:close/>
              </a:path>
            </a:pathLst>
          </a:custGeom>
          <a:solidFill>
            <a:schemeClr val="accent6"/>
          </a:solidFill>
        </p:spPr>
        <p:txBody>
          <a:bodyPr wrap="square">
            <a:noAutofit/>
          </a:bodyPr>
          <a:lstStyle>
            <a:lvl1pPr marL="0" indent="0">
              <a:buFont typeface="Arial" panose="020B0604020202020204" pitchFamily="34" charset="0"/>
              <a:buNone/>
              <a:defRPr/>
            </a:lvl1pPr>
          </a:lstStyle>
          <a:p>
            <a:r>
              <a:rPr lang="de-DE" dirty="0"/>
              <a:t> </a:t>
            </a:r>
          </a:p>
        </p:txBody>
      </p:sp>
      <p:sp>
        <p:nvSpPr>
          <p:cNvPr id="5" name="Titel 4">
            <a:extLst>
              <a:ext uri="{FF2B5EF4-FFF2-40B4-BE49-F238E27FC236}">
                <a16:creationId xmlns:a16="http://schemas.microsoft.com/office/drawing/2014/main" id="{CCD47075-0358-4B04-9C36-E858BC245477}"/>
              </a:ext>
            </a:extLst>
          </p:cNvPr>
          <p:cNvSpPr>
            <a:spLocks noGrp="1"/>
          </p:cNvSpPr>
          <p:nvPr>
            <p:ph type="title" hasCustomPrompt="1"/>
          </p:nvPr>
        </p:nvSpPr>
        <p:spPr>
          <a:xfrm>
            <a:off x="7228800" y="2995612"/>
            <a:ext cx="4410000" cy="1047600"/>
          </a:xfrm>
        </p:spPr>
        <p:txBody>
          <a:bodyPr anchor="ctr"/>
          <a:lstStyle>
            <a:lvl1pPr>
              <a:defRPr sz="2800" b="0">
                <a:latin typeface="+mn-lt"/>
              </a:defRPr>
            </a:lvl1pPr>
          </a:lstStyle>
          <a:p>
            <a:r>
              <a:rPr lang="de-DE" dirty="0" err="1"/>
              <a:t>Kapiteltrenner</a:t>
            </a:r>
            <a:r>
              <a:rPr lang="de-DE" dirty="0"/>
              <a:t>,</a:t>
            </a:r>
            <a:br>
              <a:rPr lang="de-DE" dirty="0"/>
            </a:br>
            <a:r>
              <a:rPr lang="de-DE" dirty="0"/>
              <a:t>zweizeilig </a:t>
            </a:r>
          </a:p>
        </p:txBody>
      </p:sp>
      <p:sp>
        <p:nvSpPr>
          <p:cNvPr id="8" name="Textplatzhalter 7">
            <a:extLst>
              <a:ext uri="{FF2B5EF4-FFF2-40B4-BE49-F238E27FC236}">
                <a16:creationId xmlns:a16="http://schemas.microsoft.com/office/drawing/2014/main" id="{3C9B8823-700E-48B3-92FE-AD429CECB5C7}"/>
              </a:ext>
            </a:extLst>
          </p:cNvPr>
          <p:cNvSpPr>
            <a:spLocks noGrp="1"/>
          </p:cNvSpPr>
          <p:nvPr>
            <p:ph type="body" sz="quarter" idx="13" hasCustomPrompt="1"/>
          </p:nvPr>
        </p:nvSpPr>
        <p:spPr>
          <a:xfrm>
            <a:off x="4964400" y="2900362"/>
            <a:ext cx="2005200" cy="1047813"/>
          </a:xfrm>
        </p:spPr>
        <p:txBody>
          <a:bodyPr anchor="ctr"/>
          <a:lstStyle>
            <a:lvl1pPr marL="0" indent="0" algn="r">
              <a:buNone/>
              <a:defRPr sz="8800" b="1">
                <a:latin typeface="+mj-lt"/>
              </a:defRPr>
            </a:lvl1pPr>
          </a:lstStyle>
          <a:p>
            <a:pPr lvl="0"/>
            <a:r>
              <a:rPr lang="de-DE" dirty="0"/>
              <a:t>##</a:t>
            </a:r>
          </a:p>
        </p:txBody>
      </p:sp>
    </p:spTree>
    <p:extLst>
      <p:ext uri="{BB962C8B-B14F-4D97-AF65-F5344CB8AC3E}">
        <p14:creationId xmlns:p14="http://schemas.microsoft.com/office/powerpoint/2010/main" val="339595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1/3)_Bild (2/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cxnSp>
        <p:nvCxnSpPr>
          <p:cNvPr id="8" name="Gerader Verbinder 7">
            <a:extLst>
              <a:ext uri="{FF2B5EF4-FFF2-40B4-BE49-F238E27FC236}">
                <a16:creationId xmlns:a16="http://schemas.microsoft.com/office/drawing/2014/main" id="{6C251973-09F0-4471-A030-9A113EAE4114}"/>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5AE0CD3D-9D24-4B29-96AA-494E232EEE2E}"/>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4" name="Gerader Verbinder 13">
            <a:extLst>
              <a:ext uri="{FF2B5EF4-FFF2-40B4-BE49-F238E27FC236}">
                <a16:creationId xmlns:a16="http://schemas.microsoft.com/office/drawing/2014/main" id="{80B5222D-A28F-43CC-9A96-F2D5B9B67AF9}"/>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3B89F4FF-D54A-48BB-B2D9-C2241DDF2CD0}"/>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sp>
        <p:nvSpPr>
          <p:cNvPr id="13" name="Textplatzhalter 3">
            <a:extLst>
              <a:ext uri="{FF2B5EF4-FFF2-40B4-BE49-F238E27FC236}">
                <a16:creationId xmlns:a16="http://schemas.microsoft.com/office/drawing/2014/main" id="{F49201FD-18D7-4458-89D6-DF3FF8EF931D}"/>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4367213" y="1414800"/>
            <a:ext cx="7824786" cy="4413600"/>
          </a:xfrm>
          <a:solidFill>
            <a:schemeClr val="accent6"/>
          </a:solidFill>
        </p:spPr>
        <p:txBody>
          <a:bodyPr/>
          <a:lstStyle>
            <a:lvl1pPr marL="0" indent="0">
              <a:buNone/>
              <a:defRPr/>
            </a:lvl1pPr>
          </a:lstStyle>
          <a:p>
            <a:r>
              <a:rPr lang="de-DE" dirty="0"/>
              <a:t> </a:t>
            </a:r>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55080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3">
            <a:extLst>
              <a:ext uri="{FF2B5EF4-FFF2-40B4-BE49-F238E27FC236}">
                <a16:creationId xmlns:a16="http://schemas.microsoft.com/office/drawing/2014/main" id="{F550D7D9-DC9F-4656-BA24-B341B92E49C3}"/>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CB138F73-8805-45B0-B5F3-713B56BDED4B}"/>
              </a:ext>
            </a:extLst>
          </p:cNvPr>
          <p:cNvSpPr>
            <a:spLocks noGrp="1"/>
          </p:cNvSpPr>
          <p:nvPr>
            <p:ph type="title" hasCustomPrompt="1"/>
          </p:nvPr>
        </p:nvSpPr>
        <p:spPr/>
        <p:txBody>
          <a:bodyPr/>
          <a:lstStyle>
            <a:lvl1pPr>
              <a:defRPr sz="2400"/>
            </a:lvl1pPr>
          </a:lstStyle>
          <a:p>
            <a:r>
              <a:rPr lang="de-DE" dirty="0" err="1"/>
              <a:t>Inhalt_Bild</a:t>
            </a:r>
            <a:endParaRPr lang="de-DE" dirty="0"/>
          </a:p>
        </p:txBody>
      </p:sp>
    </p:spTree>
    <p:extLst>
      <p:ext uri="{BB962C8B-B14F-4D97-AF65-F5344CB8AC3E}">
        <p14:creationId xmlns:p14="http://schemas.microsoft.com/office/powerpoint/2010/main" val="3478393784"/>
      </p:ext>
    </p:extLst>
  </p:cSld>
  <p:clrMapOvr>
    <a:masterClrMapping/>
  </p:clrMapOvr>
  <p:extLst>
    <p:ext uri="{DCECCB84-F9BA-43D5-87BE-67443E8EF086}">
      <p15:sldGuideLst xmlns:p15="http://schemas.microsoft.com/office/powerpoint/2012/main">
        <p15:guide id="1" pos="2751" userDrawn="1">
          <p15:clr>
            <a:srgbClr val="FBAE40"/>
          </p15:clr>
        </p15:guide>
        <p15:guide id="2" pos="25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2/3)_Inhalt (1/3)">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p>
            <a:fld id="{A4F0F259-A46A-4ED8-ADC1-905ED7FEFB94}" type="slidenum">
              <a:rPr lang="de-DE" smtClean="0"/>
              <a:pPr/>
              <a:t>‹#›</a:t>
            </a:fld>
            <a:endParaRPr lang="de-DE" dirty="0"/>
          </a:p>
        </p:txBody>
      </p:sp>
      <p:sp>
        <p:nvSpPr>
          <p:cNvPr id="9" name="Inhaltsplatzhalter 4">
            <a:extLst>
              <a:ext uri="{FF2B5EF4-FFF2-40B4-BE49-F238E27FC236}">
                <a16:creationId xmlns:a16="http://schemas.microsoft.com/office/drawing/2014/main" id="{B5DA39C5-3FF4-4252-A63C-336076E48FB9}"/>
              </a:ext>
            </a:extLst>
          </p:cNvPr>
          <p:cNvSpPr>
            <a:spLocks noGrp="1"/>
          </p:cNvSpPr>
          <p:nvPr>
            <p:ph sz="quarter" idx="18"/>
          </p:nvPr>
        </p:nvSpPr>
        <p:spPr>
          <a:xfrm>
            <a:off x="818286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4">
            <a:extLst>
              <a:ext uri="{FF2B5EF4-FFF2-40B4-BE49-F238E27FC236}">
                <a16:creationId xmlns:a16="http://schemas.microsoft.com/office/drawing/2014/main" id="{B9AA5AC1-D878-462C-B026-2C6EDADDD8CF}"/>
              </a:ext>
            </a:extLst>
          </p:cNvPr>
          <p:cNvSpPr>
            <a:spLocks noGrp="1"/>
          </p:cNvSpPr>
          <p:nvPr>
            <p:ph type="pic" sz="quarter" idx="22" hasCustomPrompt="1"/>
          </p:nvPr>
        </p:nvSpPr>
        <p:spPr>
          <a:xfrm>
            <a:off x="0" y="1414800"/>
            <a:ext cx="7824786" cy="4413600"/>
          </a:xfrm>
          <a:solidFill>
            <a:schemeClr val="accent6"/>
          </a:solidFill>
        </p:spPr>
        <p:txBody>
          <a:bodyPr/>
          <a:lstStyle>
            <a:lvl1pPr marL="0" indent="0">
              <a:buNone/>
              <a:defRPr/>
            </a:lvl1pPr>
          </a:lstStyle>
          <a:p>
            <a:r>
              <a:rPr lang="de-DE" dirty="0"/>
              <a:t> </a:t>
            </a:r>
          </a:p>
        </p:txBody>
      </p:sp>
      <p:cxnSp>
        <p:nvCxnSpPr>
          <p:cNvPr id="16" name="Gerader Verbinder 15">
            <a:extLst>
              <a:ext uri="{FF2B5EF4-FFF2-40B4-BE49-F238E27FC236}">
                <a16:creationId xmlns:a16="http://schemas.microsoft.com/office/drawing/2014/main" id="{C6DBF0F6-4B87-4F7D-ABC3-E33CEB8BF29D}"/>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C0CF42F-B9E1-4E2B-8229-780B5EE48798}"/>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8" name="Gerader Verbinder 17">
            <a:extLst>
              <a:ext uri="{FF2B5EF4-FFF2-40B4-BE49-F238E27FC236}">
                <a16:creationId xmlns:a16="http://schemas.microsoft.com/office/drawing/2014/main" id="{41F6503C-7B26-40CF-821B-4762A289A740}"/>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091BFE3F-69CD-4AF1-86DD-8DA35C7550A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0" name="Textplatzhalter 3">
            <a:extLst>
              <a:ext uri="{FF2B5EF4-FFF2-40B4-BE49-F238E27FC236}">
                <a16:creationId xmlns:a16="http://schemas.microsoft.com/office/drawing/2014/main" id="{39E3E6A2-A870-4316-A75A-A1D1864E9DBC}"/>
              </a:ext>
            </a:extLst>
          </p:cNvPr>
          <p:cNvSpPr>
            <a:spLocks noGrp="1"/>
          </p:cNvSpPr>
          <p:nvPr>
            <p:ph type="body" sz="quarter" idx="17" hasCustomPrompt="1"/>
          </p:nvPr>
        </p:nvSpPr>
        <p:spPr>
          <a:xfrm>
            <a:off x="550861" y="864084"/>
            <a:ext cx="1108800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8C287C18-301F-4464-89BE-6E721589331D}"/>
              </a:ext>
            </a:extLst>
          </p:cNvPr>
          <p:cNvSpPr>
            <a:spLocks noGrp="1"/>
          </p:cNvSpPr>
          <p:nvPr>
            <p:ph type="title" hasCustomPrompt="1"/>
          </p:nvPr>
        </p:nvSpPr>
        <p:spPr/>
        <p:txBody>
          <a:bodyPr/>
          <a:lstStyle>
            <a:lvl1pPr>
              <a:defRPr sz="2400"/>
            </a:lvl1pPr>
          </a:lstStyle>
          <a:p>
            <a:r>
              <a:rPr lang="de-DE" dirty="0" err="1"/>
              <a:t>Bild_Inhalt</a:t>
            </a:r>
            <a:endParaRPr lang="de-DE" dirty="0"/>
          </a:p>
        </p:txBody>
      </p:sp>
      <p:sp>
        <p:nvSpPr>
          <p:cNvPr id="13" name="Textplatzhalter 3">
            <a:extLst>
              <a:ext uri="{FF2B5EF4-FFF2-40B4-BE49-F238E27FC236}">
                <a16:creationId xmlns:a16="http://schemas.microsoft.com/office/drawing/2014/main" id="{358AA9DF-00C3-40F9-9266-6D50BE9A7E1E}"/>
              </a:ext>
            </a:extLst>
          </p:cNvPr>
          <p:cNvSpPr>
            <a:spLocks noGrp="1"/>
          </p:cNvSpPr>
          <p:nvPr>
            <p:ph type="body" sz="quarter" idx="21" hasCustomPrompt="1"/>
          </p:nvPr>
        </p:nvSpPr>
        <p:spPr>
          <a:xfrm>
            <a:off x="550800" y="5828031"/>
            <a:ext cx="11088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695597895"/>
      </p:ext>
    </p:extLst>
  </p:cSld>
  <p:clrMapOvr>
    <a:masterClrMapping/>
  </p:clrMapOvr>
  <p:extLst>
    <p:ext uri="{DCECCB84-F9BA-43D5-87BE-67443E8EF086}">
      <p15:sldGuideLst xmlns:p15="http://schemas.microsoft.com/office/powerpoint/2012/main">
        <p15:guide id="1" pos="5155" userDrawn="1">
          <p15:clr>
            <a:srgbClr val="FBAE40"/>
          </p15:clr>
        </p15:guide>
        <p15:guide id="2" pos="49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2x)_Bild">
    <p:spTree>
      <p:nvGrpSpPr>
        <p:cNvPr id="1" name=""/>
        <p:cNvGrpSpPr/>
        <p:nvPr/>
      </p:nvGrpSpPr>
      <p:grpSpPr>
        <a:xfrm>
          <a:off x="0" y="0"/>
          <a:ext cx="0" cy="0"/>
          <a:chOff x="0" y="0"/>
          <a:chExt cx="0" cy="0"/>
        </a:xfrm>
      </p:grpSpPr>
      <p:sp>
        <p:nvSpPr>
          <p:cNvPr id="25" name="Bildplatzhalter 4">
            <a:extLst>
              <a:ext uri="{FF2B5EF4-FFF2-40B4-BE49-F238E27FC236}">
                <a16:creationId xmlns:a16="http://schemas.microsoft.com/office/drawing/2014/main" id="{474E0617-0181-4853-9638-9704439B38FD}"/>
              </a:ext>
            </a:extLst>
          </p:cNvPr>
          <p:cNvSpPr>
            <a:spLocks noGrp="1"/>
          </p:cNvSpPr>
          <p:nvPr>
            <p:ph type="pic" sz="quarter" idx="22" hasCustomPrompt="1"/>
          </p:nvPr>
        </p:nvSpPr>
        <p:spPr>
          <a:xfrm>
            <a:off x="8183563" y="0"/>
            <a:ext cx="4008436" cy="6857999"/>
          </a:xfrm>
          <a:solidFill>
            <a:schemeClr val="accent6"/>
          </a:solidFill>
        </p:spPr>
        <p:txBody>
          <a:bodyPr/>
          <a:lstStyle>
            <a:lvl1pPr marL="0" indent="0">
              <a:buNone/>
              <a:defRPr/>
            </a:lvl1pPr>
          </a:lstStyle>
          <a:p>
            <a:r>
              <a:rPr lang="de-DE" dirty="0"/>
              <a:t> </a:t>
            </a:r>
          </a:p>
        </p:txBody>
      </p:sp>
      <p:sp>
        <p:nvSpPr>
          <p:cNvPr id="10" name="Foliennummernplatzhalter 9">
            <a:extLst>
              <a:ext uri="{FF2B5EF4-FFF2-40B4-BE49-F238E27FC236}">
                <a16:creationId xmlns:a16="http://schemas.microsoft.com/office/drawing/2014/main" id="{C927BCB5-D84A-4FFF-9BFA-72F31766E3E1}"/>
              </a:ext>
            </a:extLst>
          </p:cNvPr>
          <p:cNvSpPr>
            <a:spLocks noGrp="1"/>
          </p:cNvSpPr>
          <p:nvPr>
            <p:ph type="sldNum" sz="quarter" idx="16"/>
          </p:nvPr>
        </p:nvSpPr>
        <p:spPr/>
        <p:txBody>
          <a:bodyPr/>
          <a:lstStyle>
            <a:lvl1pPr>
              <a:defRPr>
                <a:solidFill>
                  <a:schemeClr val="bg1"/>
                </a:solidFill>
              </a:defRPr>
            </a:lvl1pPr>
          </a:lstStyle>
          <a:p>
            <a:fld id="{A4F0F259-A46A-4ED8-ADC1-905ED7FEFB94}" type="slidenum">
              <a:rPr lang="de-DE" smtClean="0"/>
              <a:pPr/>
              <a:t>‹#›</a:t>
            </a:fld>
            <a:endParaRPr lang="de-DE" dirty="0"/>
          </a:p>
        </p:txBody>
      </p:sp>
      <p:sp>
        <p:nvSpPr>
          <p:cNvPr id="8" name="Inhaltsplatzhalter 4">
            <a:extLst>
              <a:ext uri="{FF2B5EF4-FFF2-40B4-BE49-F238E27FC236}">
                <a16:creationId xmlns:a16="http://schemas.microsoft.com/office/drawing/2014/main" id="{CF950356-6C3B-4247-94DC-A7624BC7E53D}"/>
              </a:ext>
            </a:extLst>
          </p:cNvPr>
          <p:cNvSpPr>
            <a:spLocks noGrp="1"/>
          </p:cNvSpPr>
          <p:nvPr>
            <p:ph sz="quarter" idx="18"/>
          </p:nvPr>
        </p:nvSpPr>
        <p:spPr>
          <a:xfrm>
            <a:off x="550800"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13" name="Gerader Verbinder 12">
            <a:extLst>
              <a:ext uri="{FF2B5EF4-FFF2-40B4-BE49-F238E27FC236}">
                <a16:creationId xmlns:a16="http://schemas.microsoft.com/office/drawing/2014/main" id="{3E955CF4-55B4-41C0-82E7-8560014F5E21}"/>
              </a:ext>
            </a:extLst>
          </p:cNvPr>
          <p:cNvCxnSpPr>
            <a:cxnSpLocks/>
          </p:cNvCxnSpPr>
          <p:nvPr userDrawn="1"/>
        </p:nvCxnSpPr>
        <p:spPr>
          <a:xfrm flipV="1">
            <a:off x="4007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1D4F73F6-E51A-444F-B1AA-C0B5B973FCD1}"/>
              </a:ext>
            </a:extLst>
          </p:cNvPr>
          <p:cNvSpPr txBox="1"/>
          <p:nvPr userDrawn="1"/>
        </p:nvSpPr>
        <p:spPr>
          <a:xfrm>
            <a:off x="3614163" y="-209550"/>
            <a:ext cx="500062" cy="138499"/>
          </a:xfrm>
          <a:prstGeom prst="rect">
            <a:avLst/>
          </a:prstGeom>
          <a:noFill/>
        </p:spPr>
        <p:txBody>
          <a:bodyPr wrap="square" lIns="0" tIns="0" rIns="0" bIns="0" rtlCol="0">
            <a:noAutofit/>
          </a:bodyPr>
          <a:lstStyle/>
          <a:p>
            <a:r>
              <a:rPr lang="de-DE" sz="900" dirty="0"/>
              <a:t>5,80</a:t>
            </a:r>
          </a:p>
        </p:txBody>
      </p:sp>
      <p:cxnSp>
        <p:nvCxnSpPr>
          <p:cNvPr id="15" name="Gerader Verbinder 14">
            <a:extLst>
              <a:ext uri="{FF2B5EF4-FFF2-40B4-BE49-F238E27FC236}">
                <a16:creationId xmlns:a16="http://schemas.microsoft.com/office/drawing/2014/main" id="{10C5821D-1D0B-43B7-A0C6-1AE1A4A94582}"/>
              </a:ext>
            </a:extLst>
          </p:cNvPr>
          <p:cNvCxnSpPr>
            <a:cxnSpLocks/>
          </p:cNvCxnSpPr>
          <p:nvPr userDrawn="1"/>
        </p:nvCxnSpPr>
        <p:spPr>
          <a:xfrm flipV="1">
            <a:off x="4365052"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BBE8C48-D489-47B9-A170-2C20AC26CE02}"/>
              </a:ext>
            </a:extLst>
          </p:cNvPr>
          <p:cNvSpPr txBox="1"/>
          <p:nvPr userDrawn="1"/>
        </p:nvSpPr>
        <p:spPr>
          <a:xfrm>
            <a:off x="4498401" y="-209550"/>
            <a:ext cx="500062" cy="138499"/>
          </a:xfrm>
          <a:prstGeom prst="rect">
            <a:avLst/>
          </a:prstGeom>
          <a:noFill/>
        </p:spPr>
        <p:txBody>
          <a:bodyPr wrap="square" lIns="0" tIns="0" rIns="0" bIns="0" rtlCol="0">
            <a:noAutofit/>
          </a:bodyPr>
          <a:lstStyle/>
          <a:p>
            <a:r>
              <a:rPr lang="de-DE" sz="900" dirty="0"/>
              <a:t>4,80</a:t>
            </a:r>
          </a:p>
        </p:txBody>
      </p:sp>
      <p:cxnSp>
        <p:nvCxnSpPr>
          <p:cNvPr id="17" name="Gerader Verbinder 16">
            <a:extLst>
              <a:ext uri="{FF2B5EF4-FFF2-40B4-BE49-F238E27FC236}">
                <a16:creationId xmlns:a16="http://schemas.microsoft.com/office/drawing/2014/main" id="{A174BFD1-BD41-4B50-BB2A-5B12764193BB}"/>
              </a:ext>
            </a:extLst>
          </p:cNvPr>
          <p:cNvCxnSpPr>
            <a:cxnSpLocks/>
          </p:cNvCxnSpPr>
          <p:nvPr userDrawn="1"/>
        </p:nvCxnSpPr>
        <p:spPr>
          <a:xfrm flipV="1">
            <a:off x="7825009"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2500CD02-A9A0-48E8-BFC6-B323FC724960}"/>
              </a:ext>
            </a:extLst>
          </p:cNvPr>
          <p:cNvSpPr txBox="1"/>
          <p:nvPr userDrawn="1"/>
        </p:nvSpPr>
        <p:spPr>
          <a:xfrm>
            <a:off x="7431309" y="-209550"/>
            <a:ext cx="500062" cy="138499"/>
          </a:xfrm>
          <a:prstGeom prst="rect">
            <a:avLst/>
          </a:prstGeom>
          <a:noFill/>
        </p:spPr>
        <p:txBody>
          <a:bodyPr wrap="square" lIns="0" tIns="0" rIns="0" bIns="0" rtlCol="0">
            <a:noAutofit/>
          </a:bodyPr>
          <a:lstStyle/>
          <a:p>
            <a:r>
              <a:rPr lang="de-DE" sz="900" dirty="0"/>
              <a:t>4,80</a:t>
            </a:r>
          </a:p>
        </p:txBody>
      </p:sp>
      <p:cxnSp>
        <p:nvCxnSpPr>
          <p:cNvPr id="19" name="Gerader Verbinder 18">
            <a:extLst>
              <a:ext uri="{FF2B5EF4-FFF2-40B4-BE49-F238E27FC236}">
                <a16:creationId xmlns:a16="http://schemas.microsoft.com/office/drawing/2014/main" id="{06F1E02A-7C4B-4AB2-888E-02784C18C103}"/>
              </a:ext>
            </a:extLst>
          </p:cNvPr>
          <p:cNvCxnSpPr>
            <a:cxnSpLocks/>
          </p:cNvCxnSpPr>
          <p:nvPr userDrawn="1"/>
        </p:nvCxnSpPr>
        <p:spPr>
          <a:xfrm flipV="1">
            <a:off x="8182198"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AF1CB8B2-FAF9-4F04-A32D-FA30E82FA119}"/>
              </a:ext>
            </a:extLst>
          </p:cNvPr>
          <p:cNvSpPr txBox="1"/>
          <p:nvPr userDrawn="1"/>
        </p:nvSpPr>
        <p:spPr>
          <a:xfrm>
            <a:off x="8315547" y="-209550"/>
            <a:ext cx="500062" cy="138499"/>
          </a:xfrm>
          <a:prstGeom prst="rect">
            <a:avLst/>
          </a:prstGeom>
          <a:noFill/>
        </p:spPr>
        <p:txBody>
          <a:bodyPr wrap="square" lIns="0" tIns="0" rIns="0" bIns="0" rtlCol="0">
            <a:noAutofit/>
          </a:bodyPr>
          <a:lstStyle/>
          <a:p>
            <a:r>
              <a:rPr lang="de-DE" sz="900" dirty="0"/>
              <a:t>5,80</a:t>
            </a:r>
          </a:p>
        </p:txBody>
      </p:sp>
      <p:sp>
        <p:nvSpPr>
          <p:cNvPr id="21" name="Inhaltsplatzhalter 4">
            <a:extLst>
              <a:ext uri="{FF2B5EF4-FFF2-40B4-BE49-F238E27FC236}">
                <a16:creationId xmlns:a16="http://schemas.microsoft.com/office/drawing/2014/main" id="{67B77DFB-E7E1-49D6-9DEC-4E9A650A2F40}"/>
              </a:ext>
            </a:extLst>
          </p:cNvPr>
          <p:cNvSpPr>
            <a:spLocks noGrp="1"/>
          </p:cNvSpPr>
          <p:nvPr>
            <p:ph sz="quarter" idx="19"/>
          </p:nvPr>
        </p:nvSpPr>
        <p:spPr>
          <a:xfrm>
            <a:off x="4366831" y="1414800"/>
            <a:ext cx="3456000" cy="44136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6" name="Textplatzhalter 3">
            <a:extLst>
              <a:ext uri="{FF2B5EF4-FFF2-40B4-BE49-F238E27FC236}">
                <a16:creationId xmlns:a16="http://schemas.microsoft.com/office/drawing/2014/main" id="{56ABE43E-6BD7-4BEB-B19F-331CC8B8FB2A}"/>
              </a:ext>
            </a:extLst>
          </p:cNvPr>
          <p:cNvSpPr>
            <a:spLocks noGrp="1"/>
          </p:cNvSpPr>
          <p:nvPr>
            <p:ph type="body" sz="quarter" idx="17" hasCustomPrompt="1"/>
          </p:nvPr>
        </p:nvSpPr>
        <p:spPr>
          <a:xfrm>
            <a:off x="550861" y="864084"/>
            <a:ext cx="7271970" cy="265834"/>
          </a:xfrm>
        </p:spPr>
        <p:txBody>
          <a:bodyPr/>
          <a:lstStyle>
            <a:lvl1pPr marL="0" indent="0">
              <a:buFont typeface="Arial" panose="020B0604020202020204" pitchFamily="34" charset="0"/>
              <a:buNone/>
              <a:defRPr sz="1800" b="0"/>
            </a:lvl1pPr>
          </a:lstStyle>
          <a:p>
            <a:pPr lvl="0"/>
            <a:r>
              <a:rPr lang="de-DE" dirty="0"/>
              <a:t>Untertitel, optional</a:t>
            </a:r>
          </a:p>
        </p:txBody>
      </p:sp>
      <p:sp>
        <p:nvSpPr>
          <p:cNvPr id="2" name="Titel 1">
            <a:extLst>
              <a:ext uri="{FF2B5EF4-FFF2-40B4-BE49-F238E27FC236}">
                <a16:creationId xmlns:a16="http://schemas.microsoft.com/office/drawing/2014/main" id="{B7B7D3C4-EB5A-4D3B-8002-1D9070EEF004}"/>
              </a:ext>
            </a:extLst>
          </p:cNvPr>
          <p:cNvSpPr>
            <a:spLocks noGrp="1"/>
          </p:cNvSpPr>
          <p:nvPr>
            <p:ph type="title" hasCustomPrompt="1"/>
          </p:nvPr>
        </p:nvSpPr>
        <p:spPr/>
        <p:txBody>
          <a:bodyPr/>
          <a:lstStyle>
            <a:lvl1pPr>
              <a:defRPr sz="2400"/>
            </a:lvl1pPr>
          </a:lstStyle>
          <a:p>
            <a:r>
              <a:rPr lang="de-DE" dirty="0"/>
              <a:t>Inhalt (2)_Bild</a:t>
            </a:r>
          </a:p>
        </p:txBody>
      </p:sp>
      <p:sp>
        <p:nvSpPr>
          <p:cNvPr id="22" name="Textplatzhalter 3">
            <a:extLst>
              <a:ext uri="{FF2B5EF4-FFF2-40B4-BE49-F238E27FC236}">
                <a16:creationId xmlns:a16="http://schemas.microsoft.com/office/drawing/2014/main" id="{19F5B2BC-337A-4419-8216-81F9AC0F8844}"/>
              </a:ext>
            </a:extLst>
          </p:cNvPr>
          <p:cNvSpPr>
            <a:spLocks noGrp="1"/>
          </p:cNvSpPr>
          <p:nvPr>
            <p:ph type="body" sz="quarter" idx="21" hasCustomPrompt="1"/>
          </p:nvPr>
        </p:nvSpPr>
        <p:spPr>
          <a:xfrm>
            <a:off x="550800" y="5828031"/>
            <a:ext cx="7272000" cy="265834"/>
          </a:xfrm>
        </p:spPr>
        <p:txBody>
          <a:bodyPr anchor="b"/>
          <a:lstStyle>
            <a:lvl1pPr marL="0" indent="0">
              <a:buFont typeface="Arial" panose="020B0604020202020204" pitchFamily="34" charset="0"/>
              <a:buNone/>
              <a:defRPr sz="800" b="0"/>
            </a:lvl1pPr>
          </a:lstStyle>
          <a:p>
            <a:pPr lvl="0"/>
            <a:r>
              <a:rPr lang="de-DE" dirty="0"/>
              <a:t>Quellenangabe: optional</a:t>
            </a:r>
          </a:p>
        </p:txBody>
      </p:sp>
    </p:spTree>
    <p:extLst>
      <p:ext uri="{BB962C8B-B14F-4D97-AF65-F5344CB8AC3E}">
        <p14:creationId xmlns:p14="http://schemas.microsoft.com/office/powerpoint/2010/main" val="2535501271"/>
      </p:ext>
    </p:extLst>
  </p:cSld>
  <p:clrMapOvr>
    <a:masterClrMapping/>
  </p:clrMapOvr>
  <p:extLst>
    <p:ext uri="{DCECCB84-F9BA-43D5-87BE-67443E8EF086}">
      <p15:sldGuideLst xmlns:p15="http://schemas.microsoft.com/office/powerpoint/2012/main">
        <p15:guide id="2" pos="2525">
          <p15:clr>
            <a:srgbClr val="FBAE40"/>
          </p15:clr>
        </p15:guide>
        <p15:guide id="3" pos="2751">
          <p15:clr>
            <a:srgbClr val="FBAE40"/>
          </p15:clr>
        </p15:guide>
        <p15:guide id="4" pos="4929">
          <p15:clr>
            <a:srgbClr val="FBAE40"/>
          </p15:clr>
        </p15:guide>
        <p15:guide id="5" pos="5155">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tags" Target="../tags/tag2.xml"/><Relationship Id="rId16" Type="http://schemas.openxmlformats.org/officeDocument/2006/relationships/oleObject" Target="../embeddings/oleObject1.bin"/><Relationship Id="rId1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DFF45E0-A3BD-43AA-8C26-2ACC16E53449}"/>
              </a:ext>
            </a:extLst>
          </p:cNvPr>
          <p:cNvGraphicFramePr>
            <a:graphicFrameLocks noChangeAspect="1"/>
          </p:cNvGraphicFramePr>
          <p:nvPr userDrawn="1">
            <p:custDataLst>
              <p:tags r:id="rId15"/>
            </p:custDataLst>
            <p:extLst>
              <p:ext uri="{D42A27DB-BD31-4B8C-83A1-F6EECF244321}">
                <p14:modId xmlns:p14="http://schemas.microsoft.com/office/powerpoint/2010/main" val="311798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01" imgH="501" progId="TCLayout.ActiveDocument.1">
                  <p:embed/>
                </p:oleObj>
              </mc:Choice>
              <mc:Fallback>
                <p:oleObj name="think-cell Folie" r:id="rId16" imgW="501" imgH="501" progId="TCLayout.ActiveDocument.1">
                  <p:embed/>
                  <p:pic>
                    <p:nvPicPr>
                      <p:cNvPr id="5" name="Objekt 4" hidden="1">
                        <a:extLst>
                          <a:ext uri="{FF2B5EF4-FFF2-40B4-BE49-F238E27FC236}">
                            <a16:creationId xmlns:a16="http://schemas.microsoft.com/office/drawing/2014/main" id="{CDFF45E0-A3BD-43AA-8C26-2ACC16E5344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14" name="Gerader Verbinder 13">
            <a:extLst>
              <a:ext uri="{FF2B5EF4-FFF2-40B4-BE49-F238E27FC236}">
                <a16:creationId xmlns:a16="http://schemas.microsoft.com/office/drawing/2014/main" id="{F627DCD4-0006-49BC-B1F9-A6F56658D11A}"/>
              </a:ext>
            </a:extLst>
          </p:cNvPr>
          <p:cNvCxnSpPr>
            <a:cxnSpLocks/>
          </p:cNvCxnSpPr>
          <p:nvPr userDrawn="1"/>
        </p:nvCxnSpPr>
        <p:spPr>
          <a:xfrm flipV="1">
            <a:off x="550863"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51C6B29D-B6E6-49D6-9AA2-580E9CC1D2D5}"/>
              </a:ext>
            </a:extLst>
          </p:cNvPr>
          <p:cNvSpPr txBox="1"/>
          <p:nvPr userDrawn="1"/>
        </p:nvSpPr>
        <p:spPr>
          <a:xfrm>
            <a:off x="607219" y="-209550"/>
            <a:ext cx="500062" cy="138499"/>
          </a:xfrm>
          <a:prstGeom prst="rect">
            <a:avLst/>
          </a:prstGeom>
          <a:noFill/>
        </p:spPr>
        <p:txBody>
          <a:bodyPr wrap="square" lIns="0" tIns="0" rIns="0" bIns="0" rtlCol="0">
            <a:noAutofit/>
          </a:bodyPr>
          <a:lstStyle/>
          <a:p>
            <a:r>
              <a:rPr lang="de-DE" sz="900" dirty="0"/>
              <a:t>15,40</a:t>
            </a:r>
          </a:p>
        </p:txBody>
      </p:sp>
      <p:cxnSp>
        <p:nvCxnSpPr>
          <p:cNvPr id="18" name="Gerader Verbinder 17">
            <a:extLst>
              <a:ext uri="{FF2B5EF4-FFF2-40B4-BE49-F238E27FC236}">
                <a16:creationId xmlns:a16="http://schemas.microsoft.com/office/drawing/2014/main" id="{B76AF0F8-EDED-4869-8EB7-8907E487D82A}"/>
              </a:ext>
            </a:extLst>
          </p:cNvPr>
          <p:cNvCxnSpPr>
            <a:cxnSpLocks/>
          </p:cNvCxnSpPr>
          <p:nvPr userDrawn="1"/>
        </p:nvCxnSpPr>
        <p:spPr>
          <a:xfrm>
            <a:off x="-292894" y="4738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69BF9A34-A384-45A6-A778-95E00EB94E42}"/>
              </a:ext>
            </a:extLst>
          </p:cNvPr>
          <p:cNvSpPr txBox="1"/>
          <p:nvPr userDrawn="1"/>
        </p:nvSpPr>
        <p:spPr>
          <a:xfrm>
            <a:off x="-566738" y="526256"/>
            <a:ext cx="500062" cy="138499"/>
          </a:xfrm>
          <a:prstGeom prst="rect">
            <a:avLst/>
          </a:prstGeom>
          <a:noFill/>
        </p:spPr>
        <p:txBody>
          <a:bodyPr wrap="square" lIns="0" tIns="0" rIns="0" bIns="0" rtlCol="0">
            <a:noAutofit/>
          </a:bodyPr>
          <a:lstStyle/>
          <a:p>
            <a:pPr algn="r"/>
            <a:r>
              <a:rPr lang="de-DE" sz="900" dirty="0"/>
              <a:t>8,20</a:t>
            </a:r>
          </a:p>
        </p:txBody>
      </p:sp>
      <p:cxnSp>
        <p:nvCxnSpPr>
          <p:cNvPr id="21" name="Gerader Verbinder 20">
            <a:extLst>
              <a:ext uri="{FF2B5EF4-FFF2-40B4-BE49-F238E27FC236}">
                <a16:creationId xmlns:a16="http://schemas.microsoft.com/office/drawing/2014/main" id="{6F2F176E-86B2-47CB-B4E0-DDA65D41F5D1}"/>
              </a:ext>
            </a:extLst>
          </p:cNvPr>
          <p:cNvCxnSpPr>
            <a:cxnSpLocks/>
          </p:cNvCxnSpPr>
          <p:nvPr userDrawn="1"/>
        </p:nvCxnSpPr>
        <p:spPr>
          <a:xfrm>
            <a:off x="-292894" y="800100"/>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EA41DAA9-9025-41CA-8C8C-50A94AB72B0A}"/>
              </a:ext>
            </a:extLst>
          </p:cNvPr>
          <p:cNvSpPr txBox="1"/>
          <p:nvPr userDrawn="1"/>
        </p:nvSpPr>
        <p:spPr>
          <a:xfrm>
            <a:off x="-566738" y="852488"/>
            <a:ext cx="500062" cy="138499"/>
          </a:xfrm>
          <a:prstGeom prst="rect">
            <a:avLst/>
          </a:prstGeom>
          <a:noFill/>
        </p:spPr>
        <p:txBody>
          <a:bodyPr wrap="square" lIns="0" tIns="0" rIns="0" bIns="0" rtlCol="0">
            <a:noAutofit/>
          </a:bodyPr>
          <a:lstStyle/>
          <a:p>
            <a:pPr algn="r"/>
            <a:r>
              <a:rPr lang="de-DE" sz="900" dirty="0"/>
              <a:t>7,30</a:t>
            </a:r>
          </a:p>
        </p:txBody>
      </p:sp>
      <p:cxnSp>
        <p:nvCxnSpPr>
          <p:cNvPr id="23" name="Gerader Verbinder 22">
            <a:extLst>
              <a:ext uri="{FF2B5EF4-FFF2-40B4-BE49-F238E27FC236}">
                <a16:creationId xmlns:a16="http://schemas.microsoft.com/office/drawing/2014/main" id="{2B292CA8-F2D6-49B4-B5E9-2C52B610338D}"/>
              </a:ext>
            </a:extLst>
          </p:cNvPr>
          <p:cNvCxnSpPr>
            <a:cxnSpLocks/>
          </p:cNvCxnSpPr>
          <p:nvPr userDrawn="1"/>
        </p:nvCxnSpPr>
        <p:spPr>
          <a:xfrm flipV="1">
            <a:off x="11640345" y="-209550"/>
            <a:ext cx="0" cy="147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3FA9F94C-AA31-494A-9E53-744CB810026E}"/>
              </a:ext>
            </a:extLst>
          </p:cNvPr>
          <p:cNvSpPr txBox="1"/>
          <p:nvPr userDrawn="1"/>
        </p:nvSpPr>
        <p:spPr>
          <a:xfrm>
            <a:off x="11696701" y="-209550"/>
            <a:ext cx="500062" cy="138499"/>
          </a:xfrm>
          <a:prstGeom prst="rect">
            <a:avLst/>
          </a:prstGeom>
          <a:noFill/>
        </p:spPr>
        <p:txBody>
          <a:bodyPr wrap="square" lIns="0" tIns="0" rIns="0" bIns="0" rtlCol="0">
            <a:noAutofit/>
          </a:bodyPr>
          <a:lstStyle/>
          <a:p>
            <a:r>
              <a:rPr lang="de-DE" sz="900" dirty="0"/>
              <a:t>15,40</a:t>
            </a:r>
          </a:p>
        </p:txBody>
      </p:sp>
      <p:sp>
        <p:nvSpPr>
          <p:cNvPr id="6" name="Foliennummernplatzhalter 5">
            <a:extLst>
              <a:ext uri="{FF2B5EF4-FFF2-40B4-BE49-F238E27FC236}">
                <a16:creationId xmlns:a16="http://schemas.microsoft.com/office/drawing/2014/main" id="{6A13B4BA-5B5D-4D92-9EBD-F6A66C547D4B}"/>
              </a:ext>
            </a:extLst>
          </p:cNvPr>
          <p:cNvSpPr>
            <a:spLocks noGrp="1"/>
          </p:cNvSpPr>
          <p:nvPr>
            <p:ph type="sldNum" sz="quarter" idx="4"/>
          </p:nvPr>
        </p:nvSpPr>
        <p:spPr>
          <a:xfrm>
            <a:off x="11203782" y="6348414"/>
            <a:ext cx="435768" cy="333760"/>
          </a:xfrm>
          <a:prstGeom prst="rect">
            <a:avLst/>
          </a:prstGeom>
        </p:spPr>
        <p:txBody>
          <a:bodyPr vert="horz" lIns="0" tIns="0" rIns="0" bIns="0" rtlCol="0" anchor="ctr"/>
          <a:lstStyle>
            <a:lvl1pPr algn="r">
              <a:defRPr sz="1050" b="1">
                <a:solidFill>
                  <a:schemeClr val="tx1"/>
                </a:solidFill>
                <a:latin typeface="+mj-lt"/>
              </a:defRPr>
            </a:lvl1pPr>
          </a:lstStyle>
          <a:p>
            <a:fld id="{A4F0F259-A46A-4ED8-ADC1-905ED7FEFB94}" type="slidenum">
              <a:rPr lang="de-DE" smtClean="0"/>
              <a:pPr/>
              <a:t>‹#›</a:t>
            </a:fld>
            <a:endParaRPr lang="de-DE" dirty="0"/>
          </a:p>
        </p:txBody>
      </p:sp>
      <p:cxnSp>
        <p:nvCxnSpPr>
          <p:cNvPr id="25" name="Gerader Verbinder 24">
            <a:extLst>
              <a:ext uri="{FF2B5EF4-FFF2-40B4-BE49-F238E27FC236}">
                <a16:creationId xmlns:a16="http://schemas.microsoft.com/office/drawing/2014/main" id="{3CE27FB7-E053-4598-9E6C-BCE006EB5884}"/>
              </a:ext>
            </a:extLst>
          </p:cNvPr>
          <p:cNvCxnSpPr>
            <a:cxnSpLocks/>
          </p:cNvCxnSpPr>
          <p:nvPr userDrawn="1"/>
        </p:nvCxnSpPr>
        <p:spPr>
          <a:xfrm>
            <a:off x="-292894" y="1412556"/>
            <a:ext cx="2127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5F51AA1E-F5BA-4796-8927-B6880778E557}"/>
              </a:ext>
            </a:extLst>
          </p:cNvPr>
          <p:cNvSpPr txBox="1"/>
          <p:nvPr userDrawn="1"/>
        </p:nvSpPr>
        <p:spPr>
          <a:xfrm>
            <a:off x="-566738" y="1464944"/>
            <a:ext cx="500062" cy="138499"/>
          </a:xfrm>
          <a:prstGeom prst="rect">
            <a:avLst/>
          </a:prstGeom>
          <a:noFill/>
        </p:spPr>
        <p:txBody>
          <a:bodyPr wrap="square" lIns="0" tIns="0" rIns="0" bIns="0" rtlCol="0">
            <a:noAutofit/>
          </a:bodyPr>
          <a:lstStyle/>
          <a:p>
            <a:pPr algn="r"/>
            <a:r>
              <a:rPr lang="de-DE" sz="900" dirty="0"/>
              <a:t>5,60</a:t>
            </a:r>
          </a:p>
        </p:txBody>
      </p:sp>
      <p:cxnSp>
        <p:nvCxnSpPr>
          <p:cNvPr id="27" name="Gerader Verbinder 26">
            <a:extLst>
              <a:ext uri="{FF2B5EF4-FFF2-40B4-BE49-F238E27FC236}">
                <a16:creationId xmlns:a16="http://schemas.microsoft.com/office/drawing/2014/main" id="{9741530E-D345-47FD-A6B2-0EA9FEEB3ACD}"/>
              </a:ext>
            </a:extLst>
          </p:cNvPr>
          <p:cNvCxnSpPr>
            <a:cxnSpLocks/>
          </p:cNvCxnSpPr>
          <p:nvPr userDrawn="1"/>
        </p:nvCxnSpPr>
        <p:spPr>
          <a:xfrm>
            <a:off x="-292894" y="6094768"/>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7B8D5A9A-0C4A-47A8-83B8-2EFA4C99A4E0}"/>
              </a:ext>
            </a:extLst>
          </p:cNvPr>
          <p:cNvSpPr txBox="1"/>
          <p:nvPr userDrawn="1"/>
        </p:nvSpPr>
        <p:spPr>
          <a:xfrm>
            <a:off x="-566738" y="6147156"/>
            <a:ext cx="500062" cy="138499"/>
          </a:xfrm>
          <a:prstGeom prst="rect">
            <a:avLst/>
          </a:prstGeom>
          <a:noFill/>
        </p:spPr>
        <p:txBody>
          <a:bodyPr wrap="square" lIns="0" tIns="0" rIns="0" bIns="0" rtlCol="0">
            <a:noAutofit/>
          </a:bodyPr>
          <a:lstStyle/>
          <a:p>
            <a:pPr algn="r"/>
            <a:r>
              <a:rPr lang="de-DE" sz="900" dirty="0"/>
              <a:t>7,40</a:t>
            </a:r>
          </a:p>
        </p:txBody>
      </p:sp>
      <p:cxnSp>
        <p:nvCxnSpPr>
          <p:cNvPr id="29" name="Gerader Verbinder 28">
            <a:extLst>
              <a:ext uri="{FF2B5EF4-FFF2-40B4-BE49-F238E27FC236}">
                <a16:creationId xmlns:a16="http://schemas.microsoft.com/office/drawing/2014/main" id="{5785548C-CAA3-4E4F-AE4B-228F14C62EE0}"/>
              </a:ext>
            </a:extLst>
          </p:cNvPr>
          <p:cNvCxnSpPr>
            <a:cxnSpLocks/>
          </p:cNvCxnSpPr>
          <p:nvPr userDrawn="1"/>
        </p:nvCxnSpPr>
        <p:spPr>
          <a:xfrm>
            <a:off x="-292894" y="6345379"/>
            <a:ext cx="2127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625E4154-A280-4107-A9BB-EDC7710291FF}"/>
              </a:ext>
            </a:extLst>
          </p:cNvPr>
          <p:cNvSpPr txBox="1"/>
          <p:nvPr userDrawn="1"/>
        </p:nvSpPr>
        <p:spPr>
          <a:xfrm>
            <a:off x="-566738" y="6397767"/>
            <a:ext cx="500062" cy="138499"/>
          </a:xfrm>
          <a:prstGeom prst="rect">
            <a:avLst/>
          </a:prstGeom>
          <a:noFill/>
        </p:spPr>
        <p:txBody>
          <a:bodyPr wrap="square" lIns="0" tIns="0" rIns="0" bIns="0" rtlCol="0">
            <a:noAutofit/>
          </a:bodyPr>
          <a:lstStyle/>
          <a:p>
            <a:pPr algn="r"/>
            <a:r>
              <a:rPr lang="de-DE" sz="900" dirty="0"/>
              <a:t>8,10</a:t>
            </a:r>
          </a:p>
        </p:txBody>
      </p:sp>
      <p:sp>
        <p:nvSpPr>
          <p:cNvPr id="3" name="Textplatzhalter 2">
            <a:extLst>
              <a:ext uri="{FF2B5EF4-FFF2-40B4-BE49-F238E27FC236}">
                <a16:creationId xmlns:a16="http://schemas.microsoft.com/office/drawing/2014/main" id="{2E9A3338-48BC-479F-AEB8-992C902B85EE}"/>
              </a:ext>
            </a:extLst>
          </p:cNvPr>
          <p:cNvSpPr>
            <a:spLocks noGrp="1"/>
          </p:cNvSpPr>
          <p:nvPr>
            <p:ph type="body" idx="1"/>
          </p:nvPr>
        </p:nvSpPr>
        <p:spPr>
          <a:xfrm>
            <a:off x="550864" y="1412876"/>
            <a:ext cx="11088686" cy="4680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 name="Titelplatzhalter 1">
            <a:extLst>
              <a:ext uri="{FF2B5EF4-FFF2-40B4-BE49-F238E27FC236}">
                <a16:creationId xmlns:a16="http://schemas.microsoft.com/office/drawing/2014/main" id="{06838A31-5826-430D-8C02-F9E9B58F7A8C}"/>
              </a:ext>
            </a:extLst>
          </p:cNvPr>
          <p:cNvSpPr>
            <a:spLocks noGrp="1"/>
          </p:cNvSpPr>
          <p:nvPr>
            <p:ph type="title"/>
          </p:nvPr>
        </p:nvSpPr>
        <p:spPr>
          <a:xfrm>
            <a:off x="550862" y="477429"/>
            <a:ext cx="11088687" cy="322667"/>
          </a:xfrm>
          <a:prstGeom prst="rect">
            <a:avLst/>
          </a:prstGeom>
        </p:spPr>
        <p:txBody>
          <a:bodyPr vert="horz" lIns="0" tIns="0" rIns="0" bIns="0" rtlCol="0" anchor="t">
            <a:noAutofit/>
          </a:bodyPr>
          <a:lstStyle/>
          <a:p>
            <a:r>
              <a:rPr lang="de-DE" dirty="0"/>
              <a:t>Mastertitelformat bearbeiten</a:t>
            </a:r>
          </a:p>
        </p:txBody>
      </p:sp>
    </p:spTree>
    <p:extLst>
      <p:ext uri="{BB962C8B-B14F-4D97-AF65-F5344CB8AC3E}">
        <p14:creationId xmlns:p14="http://schemas.microsoft.com/office/powerpoint/2010/main" val="4171192528"/>
      </p:ext>
    </p:extLst>
  </p:cSld>
  <p:clrMap bg1="lt1" tx1="dk1" bg2="lt2" tx2="dk2" accent1="accent1" accent2="accent2" accent3="accent3" accent4="accent4" accent5="accent5" accent6="accent6" hlink="hlink" folHlink="folHlink"/>
  <p:sldLayoutIdLst>
    <p:sldLayoutId id="2147483691" r:id="rId1"/>
    <p:sldLayoutId id="2147483690" r:id="rId2"/>
    <p:sldLayoutId id="2147483660" r:id="rId3"/>
    <p:sldLayoutId id="2147483680" r:id="rId4"/>
    <p:sldLayoutId id="2147483678" r:id="rId5"/>
    <p:sldLayoutId id="2147483681" r:id="rId6"/>
    <p:sldLayoutId id="2147483685" r:id="rId7"/>
    <p:sldLayoutId id="2147483686" r:id="rId8"/>
    <p:sldLayoutId id="2147483687" r:id="rId9"/>
    <p:sldLayoutId id="2147483689" r:id="rId10"/>
    <p:sldLayoutId id="2147483700" r:id="rId11"/>
    <p:sldLayoutId id="2147483698" r:id="rId12"/>
    <p:sldLayoutId id="2147483692" r:id="rId13"/>
  </p:sldLayoutIdLst>
  <p:hf hdr="0" dt="0"/>
  <p:txStyles>
    <p:titleStyle>
      <a:lvl1pPr algn="l" defTabSz="914400" rtl="0" eaLnBrk="1" latinLnBrk="0" hangingPunct="1">
        <a:lnSpc>
          <a:spcPct val="100000"/>
        </a:lnSpc>
        <a:spcBef>
          <a:spcPct val="0"/>
        </a:spcBef>
        <a:buNone/>
        <a:defRPr sz="2200" b="1" kern="1200" cap="all" baseline="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b="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5pPr>
      <a:lvl6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6pPr>
      <a:lvl7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7pPr>
      <a:lvl8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8pPr>
      <a:lvl9pPr marL="540000" indent="-180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47" userDrawn="1">
          <p15:clr>
            <a:srgbClr val="F26B43"/>
          </p15:clr>
        </p15:guide>
        <p15:guide id="4" orient="horz" pos="300" userDrawn="1">
          <p15:clr>
            <a:srgbClr val="F26B43"/>
          </p15:clr>
        </p15:guide>
        <p15:guide id="5" orient="horz" pos="504" userDrawn="1">
          <p15:clr>
            <a:srgbClr val="F26B43"/>
          </p15:clr>
        </p15:guide>
        <p15:guide id="6" pos="7333" userDrawn="1">
          <p15:clr>
            <a:srgbClr val="F26B43"/>
          </p15:clr>
        </p15:guide>
        <p15:guide id="7" orient="horz" pos="890" userDrawn="1">
          <p15:clr>
            <a:srgbClr val="F26B43"/>
          </p15:clr>
        </p15:guide>
        <p15:guide id="8" orient="horz" pos="3997" userDrawn="1">
          <p15:clr>
            <a:srgbClr val="F26B43"/>
          </p15:clr>
        </p15:guide>
        <p15:guide id="9" orient="horz" pos="38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1.xml"/><Relationship Id="rId3" Type="http://schemas.openxmlformats.org/officeDocument/2006/relationships/notesSlide" Target="../notesSlides/notesSlide1.xml"/><Relationship Id="rId4" Type="http://schemas.openxmlformats.org/officeDocument/2006/relationships/oleObject" Target="../embeddings/oleObject2.bin"/><Relationship Id="rId5"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BFE861F-BC5A-4E6C-B1CC-485130A4C1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01" imgH="501" progId="TCLayout.ActiveDocument.1">
                  <p:embed/>
                </p:oleObj>
              </mc:Choice>
              <mc:Fallback>
                <p:oleObj name="think-cell Folie" r:id="rId4" imgW="501" imgH="501" progId="TCLayout.ActiveDocument.1">
                  <p:embed/>
                  <p:pic>
                    <p:nvPicPr>
                      <p:cNvPr id="3" name="Objekt 2" hidden="1">
                        <a:extLst>
                          <a:ext uri="{FF2B5EF4-FFF2-40B4-BE49-F238E27FC236}">
                            <a16:creationId xmlns:a16="http://schemas.microsoft.com/office/drawing/2014/main" id="{8BFE861F-BC5A-4E6C-B1CC-485130A4C1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AF431F5F-13FF-58F1-6359-A9E1D553C729}"/>
              </a:ext>
            </a:extLst>
          </p:cNvPr>
          <p:cNvSpPr>
            <a:spLocks noGrp="1"/>
          </p:cNvSpPr>
          <p:nvPr>
            <p:ph type="subTitle" idx="1"/>
          </p:nvPr>
        </p:nvSpPr>
        <p:spPr/>
        <p:txBody>
          <a:bodyPr/>
          <a:lstStyle/>
          <a:p>
            <a:endParaRPr lang="en-DE"/>
          </a:p>
        </p:txBody>
      </p:sp>
      <p:sp>
        <p:nvSpPr>
          <p:cNvPr id="2" name="Textfeld 1">
            <a:extLst>
              <a:ext uri="{FF2B5EF4-FFF2-40B4-BE49-F238E27FC236}">
                <a16:creationId xmlns:a16="http://schemas.microsoft.com/office/drawing/2014/main" id="{47EB54C4-5BA1-244E-8126-AE0B9AFA1A15}"/>
              </a:ext>
            </a:extLst>
          </p:cNvPr>
          <p:cNvSpPr txBox="1"/>
          <p:nvPr/>
        </p:nvSpPr>
        <p:spPr>
          <a:xfrm>
            <a:off x="1842247" y="3711388"/>
            <a:ext cx="0" cy="0"/>
          </a:xfrm>
          <a:prstGeom prst="rect">
            <a:avLst/>
          </a:prstGeom>
          <a:noFill/>
        </p:spPr>
        <p:txBody>
          <a:bodyPr wrap="none" lIns="0" tIns="0" rIns="0" bIns="0" rtlCol="0">
            <a:noAutofit/>
          </a:bodyPr>
          <a:lstStyle/>
          <a:p>
            <a:pPr algn="l"/>
            <a:endParaRPr lang="de-DE" sz="1200" dirty="0" err="1"/>
          </a:p>
        </p:txBody>
      </p:sp>
      <p:sp>
        <p:nvSpPr>
          <p:cNvPr id="6" name="Picture Placeholder 5">
            <a:extLst>
              <a:ext uri="{FF2B5EF4-FFF2-40B4-BE49-F238E27FC236}">
                <a16:creationId xmlns:a16="http://schemas.microsoft.com/office/drawing/2014/main" id="{D62E1D48-CD32-89A1-7AE3-0588A69F4786}"/>
              </a:ext>
            </a:extLst>
          </p:cNvPr>
          <p:cNvSpPr>
            <a:spLocks noGrp="1"/>
          </p:cNvSpPr>
          <p:nvPr>
            <p:ph type="pic" sz="quarter" idx="22"/>
          </p:nvPr>
        </p:nvSpPr>
        <p:spPr/>
      </p:sp>
    </p:spTree>
    <p:extLst>
      <p:ext uri="{BB962C8B-B14F-4D97-AF65-F5344CB8AC3E}">
        <p14:creationId xmlns:p14="http://schemas.microsoft.com/office/powerpoint/2010/main" val="3808728708"/>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Picture Placeholder 1"/>
          <p:cNvSpPr>
            <a:spLocks noGrp="1"/>
          </p:cNvSpPr>
          <p:nvPr>
            <p:ph type="pic" idx="12" sz="quarter"/>
          </p:nvPr>
        </p:nvSpPr>
        <p:spPr/>
      </p:sp>
      <p:sp>
        <p:nvSpPr>
          <p:cNvPr id="3" name="Title 2"/>
          <p:cNvSpPr>
            <a:spLocks noGrp="1"/>
          </p:cNvSpPr>
          <p:nvPr>
            <p:ph type="title"/>
          </p:nvPr>
        </p:nvSpPr>
        <p:spPr/>
        <p:txBody>
          <a:bodyPr/>
          <a:lstStyle/>
          <a:p>
            <a:r>
              <a:t>Adding Latent Variables</a:t>
            </a:r>
          </a:p>
        </p:txBody>
      </p:sp>
      <p:sp>
        <p:nvSpPr>
          <p:cNvPr id="4" name="Subtitle 3"/>
          <p:cNvSpPr>
            <a:spLocks noGrp="1"/>
          </p:cNvSpPr>
          <p:nvPr>
            <p:ph type="subTitle" idx="1"/>
          </p:nvPr>
        </p:nvSpPr>
        <p:spPr/>
        <p:txBody>
          <a:bodyPr/>
          <a:lstStyle/>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he division of time into 'Working Hours' and 'Non-Working Hours' is based on the understanding that human activity—and consequently energy consumption, traffic flow, online activity, and various other behaviors—fluctuates significantly between these periods. Typically defined as 9 AM to 5 PM, working hours experience a surge in industrial and commercial activities, leading to distinct patterns in electricity usage, internet traffic, and transportation. In contrast, non-working hours see a shift towards residential energy use, different traffic patterns, and varied internet usage behaviors. By categorizing data into these two time frames, models can more accurately account for the fluctuations in variables influenced by human activity cycles. For example, in energy consumption forecasting, recognizing the time of day can enhance the model's accuracy by accounting for routine spikes and troughs in demand.</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Working Hours vs. Non-Working Hours</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he integration of 'Season' as a latent variable acknowledges the profound impact of seasonal changes on various factors, including energy consumption, consumer spending habits, agricultural outputs, and health-related trends. Each season brings unique climatic conditions that influence human behavior, resource utilization, and ecological systems. For instance, spring often heralds increased agricultural activity and changes in consumer behavior. Summer typically sees a rise in cooling energy demands and altered travel patterns. Autumn reflects changes in heating demands and agricultural harvests, while winter involves heightened heating energy consumption and significant holiday-related economic activity. By categorizing data according to these seasonal phases, models can more accurately predict trends and patterns influenced by the time of year. This is crucial in fields such as retail, where seasonality affects sales volumes, or in energy management, where consumption patterns shift dramatically with the seasons.</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Seasonal Indicators</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5.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he Energy Efficiency Factor (EEF)**</a:t>
            </a:r>
          </a:p>
          <a:p/>
          <a:p>
            <a:r>
              <a:t>**Definition:** The Energy Efficiency Factor (EEF) quantifies the efficiency of converting electrical energy into useful work or activities. It takes into account the active power consumption and the intensity of electricity usage to provide a measure of how effectively energy is utilized.</a:t>
            </a:r>
          </a:p>
          <a:p/>
          <a:p>
            <a:r>
              <a:t>**Purpose:** The primary goal of EEF is to evaluate and enhance the efficiency of electrical energy use. By identifying how well energy is converted into desired functions, EEF helps in minimizing unnecessary waste and optimizing energy consumption.</a:t>
            </a:r>
          </a:p>
          <a:p/>
          <a:p>
            <a:r>
              <a:t>**Calculation:** EEF is calculated as the ratio of Global_active_power to Global_intensity. This ratio provides a clear measure of power utilization efficiency, with higher values indicating more efficient energy use. Conversely, lower values point to inefficiencies or excessive energy consumption relative to the work performed.</a:t>
            </a:r>
          </a:p>
          <a:p/>
          <a:p>
            <a:r>
              <a:t>**Applications:** EEF is vital for energy audits, appliance design, and system optimization. It plays a crucial role in pinpointing inefficiencies, thereby enabling targeted interventions to reduce power consumption, lower energy bills, and minimize environmental impact. This factor is particularly significant in industrial settings, homes, and commercial buildings where energy costs are a major operational expense.</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Energy Efficiency Factor</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6.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The Peak Usage Indicator is a binary metric designed to identify periods of high energy usage within a specified timeframe. Its primary purpose is to highlight when energy consumption surpasses a predetermined threshold, which is crucial for managing energy demand, reducing costs, and maintaining power grid stability. The indicator is calculated by comparing current or historical energy consumption, such as Global_active_power, against a defined threshold, often set at the 75th percentile of past consumption data. Periods exceeding this threshold are marked as peak usage times. Utilities and energy managers utilize this indicator to implement demand response strategies, offering incentives to reduce consumption during peak periods. It also aids consumers in understanding their energy usage patterns, promoting more conscious consumption and potential cost savings.</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Peak Usage Indicator</a:t>
            </a:r>
          </a:p>
        </p:txBody>
      </p:sp>
      <p:sp>
        <p:nvSpPr>
          <p:cNvPr id="7" name="Text Placeholder 6"/>
          <p:cNvSpPr>
            <a:spLocks noGrp="1"/>
          </p:cNvSpPr>
          <p:nvPr>
            <p:ph type="body" idx="21" sz="quarter"/>
          </p:nvPr>
        </p:nvSpPr>
        <p:spPr/>
        <p:txBody>
          <a:bodyPr/>
          <a:lstStyle/>
          <a:p/>
        </p:txBody>
      </p:sp>
    </p:spTree>
  </p:cSld>
  <p:clrMapOvr>
    <a:masterClrMapping/>
  </p:clrMapOvr>
</p:sld>
</file>

<file path=ppt/slides/slide7.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Content Placeholder 1"/>
          <p:cNvSpPr>
            <a:spLocks noGrp="1"/>
          </p:cNvSpPr>
          <p:nvPr>
            <p:ph idx="18" sz="quarter"/>
          </p:nvPr>
        </p:nvSpPr>
        <p:spPr/>
        <p:txBody>
          <a:bodyPr/>
          <a:lstStyle/>
          <a:p>
            <a:r>
              <a:t>### Environmental Comfort Index (ECI)</a:t>
            </a:r>
          </a:p>
          <a:p/>
          <a:p>
            <a:r>
              <a:t>**Definition:** The Environmental Comfort Index (ECI) is a numeric score designed to quantify the level of environmental comfort by integrating factors such as temperature, perceived humidity (inferred from dew point temperature), and the cooling effect of wind.</a:t>
            </a:r>
          </a:p>
          <a:p/>
          <a:p>
            <a:r>
              <a:t>**Purpose:** The primary goal of the ECI is to provide an accessible and easy-to-calculate metric for assessing human thermal comfort. By simplifying the evaluation process with a straightforward formula, the ECI is particularly useful for quick assessments or situations where detailed environmental data are limited.</a:t>
            </a:r>
          </a:p>
          <a:p/>
          <a:p>
            <a:r>
              <a:t>**Calculation:** The ECI is computed using the formula: </a:t>
            </a:r>
          </a:p>
          <a:p/>
          <a:p>
            <a:r>
              <a:t>\[ ECI = TF - HA(dew\_temperature) - WSA(wind\_speed) \]</a:t>
            </a:r>
          </a:p>
          <a:p/>
          <a:p>
            <a:r>
              <a:t>- **TF (Temperature Factor):** Represents the air temperature, a direct influencer of comfort.</a:t>
            </a:r>
          </a:p>
          <a:p>
            <a:r>
              <a:t>- **HA (Humidity Adjustment):** Derived from the dew temperature, this factor accounts for discomfort caused by higher humidity levels.</a:t>
            </a:r>
          </a:p>
          <a:p>
            <a:r>
              <a:t>- **WSA (Wind Speed Adjustment):** Reflects the cooling effect of wind, which can either enhance or reduce comfort depending on the context.</a:t>
            </a:r>
          </a:p>
          <a:p/>
          <a:p>
            <a:r>
              <a:t>This formula allows for a streamlined and practical approach to evaluating environmental comfort, making it an invaluable tool in various applications, from urban planning to personal comfort assessments.</a:t>
            </a:r>
          </a:p>
        </p:txBody>
      </p:sp>
      <p:sp>
        <p:nvSpPr>
          <p:cNvPr id="3" name="Content Placeholder 2"/>
          <p:cNvSpPr>
            <a:spLocks noGrp="1"/>
          </p:cNvSpPr>
          <p:nvPr>
            <p:ph idx="19" sz="quarter"/>
          </p:nvPr>
        </p:nvSpPr>
        <p:spPr/>
        <p:txBody>
          <a:bodyPr/>
          <a:lstStyle/>
          <a:p/>
        </p:txBody>
      </p:sp>
      <p:sp>
        <p:nvSpPr>
          <p:cNvPr id="4" name="Content Placeholder 3"/>
          <p:cNvSpPr>
            <a:spLocks noGrp="1"/>
          </p:cNvSpPr>
          <p:nvPr>
            <p:ph idx="20" sz="quarter"/>
          </p:nvPr>
        </p:nvSpPr>
        <p:spPr/>
        <p:txBody>
          <a:bodyPr/>
          <a:lstStyle/>
          <a:p/>
        </p:txBody>
      </p:sp>
      <p:sp>
        <p:nvSpPr>
          <p:cNvPr id="5" name="Text Placeholder 4"/>
          <p:cNvSpPr>
            <a:spLocks noGrp="1"/>
          </p:cNvSpPr>
          <p:nvPr>
            <p:ph type="body" idx="17" sz="quarter"/>
          </p:nvPr>
        </p:nvSpPr>
        <p:spPr/>
        <p:txBody>
          <a:bodyPr/>
          <a:lstStyle/>
          <a:p/>
        </p:txBody>
      </p:sp>
      <p:sp>
        <p:nvSpPr>
          <p:cNvPr id="6" name="Title 5"/>
          <p:cNvSpPr>
            <a:spLocks noGrp="1"/>
          </p:cNvSpPr>
          <p:nvPr>
            <p:ph type="title"/>
          </p:nvPr>
        </p:nvSpPr>
        <p:spPr/>
        <p:txBody>
          <a:bodyPr/>
          <a:lstStyle/>
          <a:p>
            <a:r>
              <a:t>Environmental Comfort Index (ECI)</a:t>
            </a:r>
          </a:p>
        </p:txBody>
      </p:sp>
      <p:sp>
        <p:nvSpPr>
          <p:cNvPr id="7" name="Text Placeholder 6"/>
          <p:cNvSpPr>
            <a:spLocks noGrp="1"/>
          </p:cNvSpPr>
          <p:nvPr>
            <p:ph type="body" idx="21" sz="quarter"/>
          </p:nvPr>
        </p:nvSpPr>
        <p:spPr/>
        <p:txBody>
          <a:bodyPr/>
          <a:lstStyle/>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BENE_Master">
  <a:themeElements>
    <a:clrScheme name="Conbene">
      <a:dk1>
        <a:srgbClr val="000000"/>
      </a:dk1>
      <a:lt1>
        <a:srgbClr val="FFFFFF"/>
      </a:lt1>
      <a:dk2>
        <a:srgbClr val="1C3658"/>
      </a:dk2>
      <a:lt2>
        <a:srgbClr val="FFFFFF"/>
      </a:lt2>
      <a:accent1>
        <a:srgbClr val="1C3658"/>
      </a:accent1>
      <a:accent2>
        <a:srgbClr val="4D6D8E"/>
      </a:accent2>
      <a:accent3>
        <a:srgbClr val="85C7CE"/>
      </a:accent3>
      <a:accent4>
        <a:srgbClr val="99ABBE"/>
      </a:accent4>
      <a:accent5>
        <a:srgbClr val="7F7F7F"/>
      </a:accent5>
      <a:accent6>
        <a:srgbClr val="BFBFBF"/>
      </a:accent6>
      <a:hlink>
        <a:srgbClr val="85C7CE"/>
      </a:hlink>
      <a:folHlink>
        <a:srgbClr val="1C3658"/>
      </a:folHlink>
    </a:clrScheme>
    <a:fontScheme name="Benutzerdefiniert 3">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defRPr sz="120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custClrLst>
    <a:custClr name="Orange">
      <a:srgbClr val="ED8348"/>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82A6DACC844941A0C90594FC942817" ma:contentTypeVersion="16" ma:contentTypeDescription="Ein neues Dokument erstellen." ma:contentTypeScope="" ma:versionID="30b1eba04f62553f69d48e2187519133">
  <xsd:schema xmlns:xsd="http://www.w3.org/2001/XMLSchema" xmlns:xs="http://www.w3.org/2001/XMLSchema" xmlns:p="http://schemas.microsoft.com/office/2006/metadata/properties" xmlns:ns2="f909e4db-e651-40ca-8927-ef3b962a225d" xmlns:ns3="194d22ca-cb73-440e-836e-eb3950c29c17" targetNamespace="http://schemas.microsoft.com/office/2006/metadata/properties" ma:root="true" ma:fieldsID="35cc3d9bd264b5c351e6e7a8d9dceb7e" ns2:_="" ns3:_="">
    <xsd:import namespace="f909e4db-e651-40ca-8927-ef3b962a225d"/>
    <xsd:import namespace="194d22ca-cb73-440e-836e-eb3950c29c1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9e4db-e651-40ca-8927-ef3b962a22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80fe995-0e9d-490b-a416-f1a084a7a31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94d22ca-cb73-440e-836e-eb3950c29c17"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84b70731-0640-4137-ae8a-64361180178d}" ma:internalName="TaxCatchAll" ma:showField="CatchAllData" ma:web="194d22ca-cb73-440e-836e-eb3950c29c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909e4db-e651-40ca-8927-ef3b962a225d">
      <Terms xmlns="http://schemas.microsoft.com/office/infopath/2007/PartnerControls"/>
    </lcf76f155ced4ddcb4097134ff3c332f>
    <TaxCatchAll xmlns="194d22ca-cb73-440e-836e-eb3950c29c17" xsi:nil="true"/>
  </documentManagement>
</p:properties>
</file>

<file path=customXml/itemProps1.xml><?xml version="1.0" encoding="utf-8"?>
<ds:datastoreItem xmlns:ds="http://schemas.openxmlformats.org/officeDocument/2006/customXml" ds:itemID="{9F781355-8615-40E0-9FC6-E803848E59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09e4db-e651-40ca-8927-ef3b962a225d"/>
    <ds:schemaRef ds:uri="194d22ca-cb73-440e-836e-eb3950c29c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F367E84-9C21-4E8E-9110-91E0CE722121}">
  <ds:schemaRefs>
    <ds:schemaRef ds:uri="http://schemas.microsoft.com/sharepoint/v3/contenttype/forms"/>
  </ds:schemaRefs>
</ds:datastoreItem>
</file>

<file path=customXml/itemProps3.xml><?xml version="1.0" encoding="utf-8"?>
<ds:datastoreItem xmlns:ds="http://schemas.openxmlformats.org/officeDocument/2006/customXml" ds:itemID="{A0679FA0-EFA8-4510-9C61-F5D341E184F7}">
  <ds:schemaRefs>
    <ds:schemaRef ds:uri="http://schemas.microsoft.com/office/2006/documentManagement/types"/>
    <ds:schemaRef ds:uri="http://schemas.microsoft.com/office/infopath/2007/PartnerControls"/>
    <ds:schemaRef ds:uri="f909e4db-e651-40ca-8927-ef3b962a225d"/>
    <ds:schemaRef ds:uri="http://www.w3.org/XML/1998/namespace"/>
    <ds:schemaRef ds:uri="http://purl.org/dc/dcmitype/"/>
    <ds:schemaRef ds:uri="http://purl.org/dc/terms/"/>
    <ds:schemaRef ds:uri="http://schemas.microsoft.com/office/2006/metadata/properties"/>
    <ds:schemaRef ds:uri="http://purl.org/dc/elements/1.1/"/>
    <ds:schemaRef ds:uri="http://schemas.openxmlformats.org/package/2006/metadata/core-properties"/>
    <ds:schemaRef ds:uri="194d22ca-cb73-440e-836e-eb3950c29c17"/>
  </ds:schemaRefs>
</ds:datastoreItem>
</file>

<file path=docProps/app.xml><?xml version="1.0" encoding="utf-8"?>
<Properties xmlns="http://schemas.openxmlformats.org/officeDocument/2006/extended-properties" xmlns:vt="http://schemas.openxmlformats.org/officeDocument/2006/docPropsVTypes">
  <TotalTime>684</TotalTime>
  <Words>1</Words>
  <Application>Microsoft Macintosh PowerPoint</Application>
  <PresentationFormat>Widescreen</PresentationFormat>
  <Paragraphs>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Raleway</vt:lpstr>
      <vt:lpstr>Symbol</vt:lpstr>
      <vt:lpstr>CONBENE_Master</vt:lpstr>
      <vt:lpstr>think-cell Foli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astasia Trubizki</dc:creator>
  <cp:lastModifiedBy>Nils Jennissen</cp:lastModifiedBy>
  <cp:revision>284</cp:revision>
  <dcterms:created xsi:type="dcterms:W3CDTF">2019-06-20T13:37:27Z</dcterms:created>
  <dcterms:modified xsi:type="dcterms:W3CDTF">2023-06-11T18: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82A6DACC844941A0C90594FC942817</vt:lpwstr>
  </property>
  <property fmtid="{D5CDD505-2E9C-101B-9397-08002B2CF9AE}" pid="3" name="MediaServiceImageTags">
    <vt:lpwstr/>
  </property>
</Properties>
</file>